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83" r:id="rId3"/>
    <p:sldMasterId id="2147483696" r:id="rId4"/>
    <p:sldMasterId id="2147483709" r:id="rId5"/>
    <p:sldMasterId id="2147483815" r:id="rId6"/>
    <p:sldMasterId id="2147483822" r:id="rId7"/>
  </p:sldMasterIdLst>
  <p:notesMasterIdLst>
    <p:notesMasterId r:id="rId16"/>
  </p:notesMasterIdLst>
  <p:sldIdLst>
    <p:sldId id="2714" r:id="rId8"/>
    <p:sldId id="2736" r:id="rId9"/>
    <p:sldId id="2739" r:id="rId10"/>
    <p:sldId id="2741" r:id="rId11"/>
    <p:sldId id="2737" r:id="rId12"/>
    <p:sldId id="2725" r:id="rId13"/>
    <p:sldId id="2738" r:id="rId14"/>
    <p:sldId id="2733" r:id="rId15"/>
  </p:sldIdLst>
  <p:sldSz cx="12192000" cy="6858000"/>
  <p:notesSz cx="6805613" cy="99441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vid Reddy" initials="" lastIdx="3" clrIdx="0"/>
  <p:cmAuthor id="1" name="Laura Amaya" initials="LA" lastIdx="4" clrIdx="1"/>
  <p:cmAuthor id="2" name="Christina Hooson" initials="CH" lastIdx="3" clrIdx="2"/>
  <p:cmAuthor id="3" name="Sebastien Mazzuri" initials="SMZ" lastIdx="8" clrIdx="3"/>
  <p:cmAuthor id="4" name="George Jagoe" initials="GJ" lastIdx="4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33"/>
    <a:srgbClr val="C4D0DB"/>
    <a:srgbClr val="DDEBF7"/>
    <a:srgbClr val="80C535"/>
    <a:srgbClr val="FF6699"/>
    <a:srgbClr val="CCFFCC"/>
    <a:srgbClr val="660066"/>
    <a:srgbClr val="E4B0BB"/>
    <a:srgbClr val="EACCFC"/>
    <a:srgbClr val="F0DB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0573B7A-5F8D-4815-9CB2-16DDCB5F1008}" v="510" dt="2026-02-16T12:31:30.9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477" autoAdjust="0"/>
    <p:restoredTop sz="76021" autoAdjust="0"/>
  </p:normalViewPr>
  <p:slideViewPr>
    <p:cSldViewPr snapToGrid="0">
      <p:cViewPr varScale="1">
        <p:scale>
          <a:sx n="151" d="100"/>
          <a:sy n="151" d="100"/>
        </p:scale>
        <p:origin x="3516" y="354"/>
      </p:cViewPr>
      <p:guideLst>
        <p:guide orient="horz" pos="34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microsoft.com/office/2016/11/relationships/changesInfo" Target="changesInfos/changesInfo1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eline Audibert" userId="8796d7c5-f4bb-47e6-92d8-58fb126ac2b1" providerId="ADAL" clId="{74298F22-B071-4DB0-A1D4-92430E142C14}"/>
    <pc:docChg chg="custSel addSld delSld modSld sldOrd">
      <pc:chgData name="Celine Audibert" userId="8796d7c5-f4bb-47e6-92d8-58fb126ac2b1" providerId="ADAL" clId="{74298F22-B071-4DB0-A1D4-92430E142C14}" dt="2026-02-16T12:39:41.348" v="1506" actId="20577"/>
      <pc:docMkLst>
        <pc:docMk/>
      </pc:docMkLst>
      <pc:sldChg chg="modSp mod">
        <pc:chgData name="Celine Audibert" userId="8796d7c5-f4bb-47e6-92d8-58fb126ac2b1" providerId="ADAL" clId="{74298F22-B071-4DB0-A1D4-92430E142C14}" dt="2026-02-16T12:25:17.074" v="1324" actId="13926"/>
        <pc:sldMkLst>
          <pc:docMk/>
          <pc:sldMk cId="1803496329" sldId="2714"/>
        </pc:sldMkLst>
        <pc:spChg chg="mod">
          <ac:chgData name="Celine Audibert" userId="8796d7c5-f4bb-47e6-92d8-58fb126ac2b1" providerId="ADAL" clId="{74298F22-B071-4DB0-A1D4-92430E142C14}" dt="2026-02-15T08:33:25.679" v="1" actId="20577"/>
          <ac:spMkLst>
            <pc:docMk/>
            <pc:sldMk cId="1803496329" sldId="2714"/>
            <ac:spMk id="9218" creationId="{430D92CA-D486-489C-A22E-AA96F9BADF84}"/>
          </ac:spMkLst>
        </pc:spChg>
        <pc:spChg chg="mod">
          <ac:chgData name="Celine Audibert" userId="8796d7c5-f4bb-47e6-92d8-58fb126ac2b1" providerId="ADAL" clId="{74298F22-B071-4DB0-A1D4-92430E142C14}" dt="2026-02-16T12:25:17.074" v="1324" actId="13926"/>
          <ac:spMkLst>
            <pc:docMk/>
            <pc:sldMk cId="1803496329" sldId="2714"/>
            <ac:spMk id="9219" creationId="{4110B93F-B0CE-4B2E-B679-6B51154B27AA}"/>
          </ac:spMkLst>
        </pc:spChg>
      </pc:sldChg>
      <pc:sldChg chg="addSp delSp modSp mod">
        <pc:chgData name="Celine Audibert" userId="8796d7c5-f4bb-47e6-92d8-58fb126ac2b1" providerId="ADAL" clId="{74298F22-B071-4DB0-A1D4-92430E142C14}" dt="2026-02-16T12:31:30.923" v="1500" actId="404"/>
        <pc:sldMkLst>
          <pc:docMk/>
          <pc:sldMk cId="1880766328" sldId="2725"/>
        </pc:sldMkLst>
        <pc:spChg chg="mod">
          <ac:chgData name="Celine Audibert" userId="8796d7c5-f4bb-47e6-92d8-58fb126ac2b1" providerId="ADAL" clId="{74298F22-B071-4DB0-A1D4-92430E142C14}" dt="2026-02-15T09:02:07.522" v="203" actId="20577"/>
          <ac:spMkLst>
            <pc:docMk/>
            <pc:sldMk cId="1880766328" sldId="2725"/>
            <ac:spMk id="2" creationId="{A2E70CD0-81F4-4A8D-ADC4-170D2859B603}"/>
          </ac:spMkLst>
        </pc:spChg>
        <pc:spChg chg="del">
          <ac:chgData name="Celine Audibert" userId="8796d7c5-f4bb-47e6-92d8-58fb126ac2b1" providerId="ADAL" clId="{74298F22-B071-4DB0-A1D4-92430E142C14}" dt="2026-02-16T12:28:09.590" v="1403" actId="478"/>
          <ac:spMkLst>
            <pc:docMk/>
            <pc:sldMk cId="1880766328" sldId="2725"/>
            <ac:spMk id="3" creationId="{F901F3DA-FE49-84A1-367C-D33F4BC2552B}"/>
          </ac:spMkLst>
        </pc:spChg>
        <pc:spChg chg="add mod">
          <ac:chgData name="Celine Audibert" userId="8796d7c5-f4bb-47e6-92d8-58fb126ac2b1" providerId="ADAL" clId="{74298F22-B071-4DB0-A1D4-92430E142C14}" dt="2026-02-16T12:28:10.040" v="1404"/>
          <ac:spMkLst>
            <pc:docMk/>
            <pc:sldMk cId="1880766328" sldId="2725"/>
            <ac:spMk id="6" creationId="{E1BFE319-CDD2-44CD-4849-B201138B7342}"/>
          </ac:spMkLst>
        </pc:spChg>
        <pc:spChg chg="mod">
          <ac:chgData name="Celine Audibert" userId="8796d7c5-f4bb-47e6-92d8-58fb126ac2b1" providerId="ADAL" clId="{74298F22-B071-4DB0-A1D4-92430E142C14}" dt="2026-02-15T09:05:17.830" v="329" actId="1076"/>
          <ac:spMkLst>
            <pc:docMk/>
            <pc:sldMk cId="1880766328" sldId="2725"/>
            <ac:spMk id="8" creationId="{F1147286-4B97-4CDC-B06F-33BD60399246}"/>
          </ac:spMkLst>
        </pc:spChg>
        <pc:graphicFrameChg chg="add mod">
          <ac:chgData name="Celine Audibert" userId="8796d7c5-f4bb-47e6-92d8-58fb126ac2b1" providerId="ADAL" clId="{74298F22-B071-4DB0-A1D4-92430E142C14}" dt="2026-02-16T12:31:30.923" v="1500" actId="404"/>
          <ac:graphicFrameMkLst>
            <pc:docMk/>
            <pc:sldMk cId="1880766328" sldId="2725"/>
            <ac:graphicFrameMk id="5" creationId="{024EAE33-EFAF-592B-115C-73E9206ADCF3}"/>
          </ac:graphicFrameMkLst>
        </pc:graphicFrameChg>
        <pc:graphicFrameChg chg="del">
          <ac:chgData name="Celine Audibert" userId="8796d7c5-f4bb-47e6-92d8-58fb126ac2b1" providerId="ADAL" clId="{74298F22-B071-4DB0-A1D4-92430E142C14}" dt="2026-02-15T09:03:09.484" v="204" actId="478"/>
          <ac:graphicFrameMkLst>
            <pc:docMk/>
            <pc:sldMk cId="1880766328" sldId="2725"/>
            <ac:graphicFrameMk id="7" creationId="{024EAE33-EFAF-592B-115C-73E9206ADCF3}"/>
          </ac:graphicFrameMkLst>
        </pc:graphicFrameChg>
      </pc:sldChg>
      <pc:sldChg chg="addSp delSp modSp mod">
        <pc:chgData name="Celine Audibert" userId="8796d7c5-f4bb-47e6-92d8-58fb126ac2b1" providerId="ADAL" clId="{74298F22-B071-4DB0-A1D4-92430E142C14}" dt="2026-02-16T12:39:10.090" v="1504" actId="20577"/>
        <pc:sldMkLst>
          <pc:docMk/>
          <pc:sldMk cId="4196423954" sldId="2736"/>
        </pc:sldMkLst>
        <pc:spChg chg="mod">
          <ac:chgData name="Celine Audibert" userId="8796d7c5-f4bb-47e6-92d8-58fb126ac2b1" providerId="ADAL" clId="{74298F22-B071-4DB0-A1D4-92430E142C14}" dt="2026-02-16T12:27:09.112" v="1395" actId="20577"/>
          <ac:spMkLst>
            <pc:docMk/>
            <pc:sldMk cId="4196423954" sldId="2736"/>
            <ac:spMk id="4" creationId="{EB4F51EA-0581-94B6-14D4-BC3D18AC30CD}"/>
          </ac:spMkLst>
        </pc:spChg>
        <pc:spChg chg="mod">
          <ac:chgData name="Celine Audibert" userId="8796d7c5-f4bb-47e6-92d8-58fb126ac2b1" providerId="ADAL" clId="{74298F22-B071-4DB0-A1D4-92430E142C14}" dt="2026-02-16T12:39:10.090" v="1504" actId="20577"/>
          <ac:spMkLst>
            <pc:docMk/>
            <pc:sldMk cId="4196423954" sldId="2736"/>
            <ac:spMk id="26" creationId="{04E7B442-A860-447B-A8A9-36AAB9479028}"/>
          </ac:spMkLst>
        </pc:spChg>
        <pc:graphicFrameChg chg="add del mod">
          <ac:chgData name="Celine Audibert" userId="8796d7c5-f4bb-47e6-92d8-58fb126ac2b1" providerId="ADAL" clId="{74298F22-B071-4DB0-A1D4-92430E142C14}" dt="2026-02-16T12:29:35.564" v="1442" actId="403"/>
          <ac:graphicFrameMkLst>
            <pc:docMk/>
            <pc:sldMk cId="4196423954" sldId="2736"/>
            <ac:graphicFrameMk id="2" creationId="{E1C2FB3E-AC63-42F1-A106-7DF06F86A6C8}"/>
          </ac:graphicFrameMkLst>
        </pc:graphicFrameChg>
        <pc:graphicFrameChg chg="add del mod">
          <ac:chgData name="Celine Audibert" userId="8796d7c5-f4bb-47e6-92d8-58fb126ac2b1" providerId="ADAL" clId="{74298F22-B071-4DB0-A1D4-92430E142C14}" dt="2026-02-16T12:26:17.068" v="1330" actId="478"/>
          <ac:graphicFrameMkLst>
            <pc:docMk/>
            <pc:sldMk cId="4196423954" sldId="2736"/>
            <ac:graphicFrameMk id="3" creationId="{E1C2FB3E-AC63-42F1-A106-7DF06F86A6C8}"/>
          </ac:graphicFrameMkLst>
        </pc:graphicFrameChg>
      </pc:sldChg>
      <pc:sldChg chg="addSp delSp modSp mod">
        <pc:chgData name="Celine Audibert" userId="8796d7c5-f4bb-47e6-92d8-58fb126ac2b1" providerId="ADAL" clId="{74298F22-B071-4DB0-A1D4-92430E142C14}" dt="2026-02-16T12:39:41.348" v="1506" actId="20577"/>
        <pc:sldMkLst>
          <pc:docMk/>
          <pc:sldMk cId="2970884594" sldId="2737"/>
        </pc:sldMkLst>
        <pc:spChg chg="add mod">
          <ac:chgData name="Celine Audibert" userId="8796d7c5-f4bb-47e6-92d8-58fb126ac2b1" providerId="ADAL" clId="{74298F22-B071-4DB0-A1D4-92430E142C14}" dt="2026-02-16T12:28:04.020" v="1402"/>
          <ac:spMkLst>
            <pc:docMk/>
            <pc:sldMk cId="2970884594" sldId="2737"/>
            <ac:spMk id="3" creationId="{16508A09-A5C7-9543-3B63-34E3618F3AB6}"/>
          </ac:spMkLst>
        </pc:spChg>
        <pc:spChg chg="del">
          <ac:chgData name="Celine Audibert" userId="8796d7c5-f4bb-47e6-92d8-58fb126ac2b1" providerId="ADAL" clId="{74298F22-B071-4DB0-A1D4-92430E142C14}" dt="2026-02-16T12:28:03.638" v="1401" actId="478"/>
          <ac:spMkLst>
            <pc:docMk/>
            <pc:sldMk cId="2970884594" sldId="2737"/>
            <ac:spMk id="4" creationId="{EB4F51EA-0581-94B6-14D4-BC3D18AC30CD}"/>
          </ac:spMkLst>
        </pc:spChg>
        <pc:spChg chg="mod">
          <ac:chgData name="Celine Audibert" userId="8796d7c5-f4bb-47e6-92d8-58fb126ac2b1" providerId="ADAL" clId="{74298F22-B071-4DB0-A1D4-92430E142C14}" dt="2026-02-16T12:39:41.348" v="1506" actId="20577"/>
          <ac:spMkLst>
            <pc:docMk/>
            <pc:sldMk cId="2970884594" sldId="2737"/>
            <ac:spMk id="26" creationId="{04E7B442-A860-447B-A8A9-36AAB9479028}"/>
          </ac:spMkLst>
        </pc:spChg>
        <pc:graphicFrameChg chg="add del mod">
          <ac:chgData name="Celine Audibert" userId="8796d7c5-f4bb-47e6-92d8-58fb126ac2b1" providerId="ADAL" clId="{74298F22-B071-4DB0-A1D4-92430E142C14}" dt="2026-02-16T12:28:30.245" v="1407" actId="478"/>
          <ac:graphicFrameMkLst>
            <pc:docMk/>
            <pc:sldMk cId="2970884594" sldId="2737"/>
            <ac:graphicFrameMk id="2" creationId="{8CA99FCE-AA5B-5E27-3308-AEC0BA911111}"/>
          </ac:graphicFrameMkLst>
        </pc:graphicFrameChg>
        <pc:graphicFrameChg chg="del">
          <ac:chgData name="Celine Audibert" userId="8796d7c5-f4bb-47e6-92d8-58fb126ac2b1" providerId="ADAL" clId="{74298F22-B071-4DB0-A1D4-92430E142C14}" dt="2026-02-15T08:53:12.588" v="60" actId="478"/>
          <ac:graphicFrameMkLst>
            <pc:docMk/>
            <pc:sldMk cId="2970884594" sldId="2737"/>
            <ac:graphicFrameMk id="3" creationId="{E60D543E-BA3E-5796-C01A-EF837BAF1E65}"/>
          </ac:graphicFrameMkLst>
        </pc:graphicFrameChg>
        <pc:graphicFrameChg chg="add mod">
          <ac:chgData name="Celine Audibert" userId="8796d7c5-f4bb-47e6-92d8-58fb126ac2b1" providerId="ADAL" clId="{74298F22-B071-4DB0-A1D4-92430E142C14}" dt="2026-02-16T12:31:19.519" v="1499" actId="255"/>
          <ac:graphicFrameMkLst>
            <pc:docMk/>
            <pc:sldMk cId="2970884594" sldId="2737"/>
            <ac:graphicFrameMk id="5" creationId="{8CA99FCE-AA5B-5E27-3308-AEC0BA911111}"/>
          </ac:graphicFrameMkLst>
        </pc:graphicFrameChg>
      </pc:sldChg>
      <pc:sldChg chg="addSp delSp modSp mod">
        <pc:chgData name="Celine Audibert" userId="8796d7c5-f4bb-47e6-92d8-58fb126ac2b1" providerId="ADAL" clId="{74298F22-B071-4DB0-A1D4-92430E142C14}" dt="2026-02-16T12:28:15.140" v="1406"/>
        <pc:sldMkLst>
          <pc:docMk/>
          <pc:sldMk cId="3277909485" sldId="2738"/>
        </pc:sldMkLst>
        <pc:spChg chg="mod">
          <ac:chgData name="Celine Audibert" userId="8796d7c5-f4bb-47e6-92d8-58fb126ac2b1" providerId="ADAL" clId="{74298F22-B071-4DB0-A1D4-92430E142C14}" dt="2026-02-15T09:08:47.055" v="383" actId="20577"/>
          <ac:spMkLst>
            <pc:docMk/>
            <pc:sldMk cId="3277909485" sldId="2738"/>
            <ac:spMk id="2" creationId="{32AB6BFF-E9CB-C39E-702A-F7B532BADAD1}"/>
          </ac:spMkLst>
        </pc:spChg>
        <pc:spChg chg="add mod">
          <ac:chgData name="Celine Audibert" userId="8796d7c5-f4bb-47e6-92d8-58fb126ac2b1" providerId="ADAL" clId="{74298F22-B071-4DB0-A1D4-92430E142C14}" dt="2026-02-16T12:28:15.140" v="1406"/>
          <ac:spMkLst>
            <pc:docMk/>
            <pc:sldMk cId="3277909485" sldId="2738"/>
            <ac:spMk id="3" creationId="{1D5CFED0-4492-1979-BD8B-4EBF016F2544}"/>
          </ac:spMkLst>
        </pc:spChg>
        <pc:spChg chg="del">
          <ac:chgData name="Celine Audibert" userId="8796d7c5-f4bb-47e6-92d8-58fb126ac2b1" providerId="ADAL" clId="{74298F22-B071-4DB0-A1D4-92430E142C14}" dt="2026-02-16T12:28:14.797" v="1405" actId="478"/>
          <ac:spMkLst>
            <pc:docMk/>
            <pc:sldMk cId="3277909485" sldId="2738"/>
            <ac:spMk id="5" creationId="{DBA4C94B-88AA-15B3-5AFF-CDEE5925E2C9}"/>
          </ac:spMkLst>
        </pc:spChg>
        <pc:spChg chg="mod">
          <ac:chgData name="Celine Audibert" userId="8796d7c5-f4bb-47e6-92d8-58fb126ac2b1" providerId="ADAL" clId="{74298F22-B071-4DB0-A1D4-92430E142C14}" dt="2026-02-15T09:13:05.846" v="511" actId="1035"/>
          <ac:spMkLst>
            <pc:docMk/>
            <pc:sldMk cId="3277909485" sldId="2738"/>
            <ac:spMk id="8" creationId="{B88A8EED-60DD-8C23-CF67-A21A7428C0C7}"/>
          </ac:spMkLst>
        </pc:spChg>
        <pc:graphicFrameChg chg="del">
          <ac:chgData name="Celine Audibert" userId="8796d7c5-f4bb-47e6-92d8-58fb126ac2b1" providerId="ADAL" clId="{74298F22-B071-4DB0-A1D4-92430E142C14}" dt="2026-02-15T09:10:09.204" v="460" actId="478"/>
          <ac:graphicFrameMkLst>
            <pc:docMk/>
            <pc:sldMk cId="3277909485" sldId="2738"/>
            <ac:graphicFrameMk id="3" creationId="{7D601F3A-B5EF-3186-2047-52006C79A5FB}"/>
          </ac:graphicFrameMkLst>
        </pc:graphicFrameChg>
        <pc:graphicFrameChg chg="add mod">
          <ac:chgData name="Celine Audibert" userId="8796d7c5-f4bb-47e6-92d8-58fb126ac2b1" providerId="ADAL" clId="{74298F22-B071-4DB0-A1D4-92430E142C14}" dt="2026-02-15T09:13:12.798" v="512" actId="14100"/>
          <ac:graphicFrameMkLst>
            <pc:docMk/>
            <pc:sldMk cId="3277909485" sldId="2738"/>
            <ac:graphicFrameMk id="6" creationId="{7D601F3A-B5EF-3186-2047-52006C79A5FB}"/>
          </ac:graphicFrameMkLst>
        </pc:graphicFrameChg>
      </pc:sldChg>
      <pc:sldChg chg="addSp delSp modSp mod ord">
        <pc:chgData name="Celine Audibert" userId="8796d7c5-f4bb-47e6-92d8-58fb126ac2b1" providerId="ADAL" clId="{74298F22-B071-4DB0-A1D4-92430E142C14}" dt="2026-02-16T12:30:17.848" v="1486" actId="20577"/>
        <pc:sldMkLst>
          <pc:docMk/>
          <pc:sldMk cId="1401601479" sldId="2739"/>
        </pc:sldMkLst>
        <pc:spChg chg="mod">
          <ac:chgData name="Celine Audibert" userId="8796d7c5-f4bb-47e6-92d8-58fb126ac2b1" providerId="ADAL" clId="{74298F22-B071-4DB0-A1D4-92430E142C14}" dt="2026-02-16T12:27:37.188" v="1397" actId="20577"/>
          <ac:spMkLst>
            <pc:docMk/>
            <pc:sldMk cId="1401601479" sldId="2739"/>
            <ac:spMk id="2" creationId="{CA2C195C-3A3B-F4EB-6C20-4ACC838C4CB0}"/>
          </ac:spMkLst>
        </pc:spChg>
        <pc:spChg chg="add mod">
          <ac:chgData name="Celine Audibert" userId="8796d7c5-f4bb-47e6-92d8-58fb126ac2b1" providerId="ADAL" clId="{74298F22-B071-4DB0-A1D4-92430E142C14}" dt="2026-02-16T12:30:17.848" v="1486" actId="20577"/>
          <ac:spMkLst>
            <pc:docMk/>
            <pc:sldMk cId="1401601479" sldId="2739"/>
            <ac:spMk id="3" creationId="{E2039D38-BDAD-CC09-EF3B-F17B1CD6CB10}"/>
          </ac:spMkLst>
        </pc:spChg>
        <pc:spChg chg="add mod">
          <ac:chgData name="Celine Audibert" userId="8796d7c5-f4bb-47e6-92d8-58fb126ac2b1" providerId="ADAL" clId="{74298F22-B071-4DB0-A1D4-92430E142C14}" dt="2026-02-16T12:27:40.986" v="1398" actId="20577"/>
          <ac:spMkLst>
            <pc:docMk/>
            <pc:sldMk cId="1401601479" sldId="2739"/>
            <ac:spMk id="7" creationId="{BFAABC90-C1AF-349C-40D0-C95002C95273}"/>
          </ac:spMkLst>
        </pc:spChg>
        <pc:spChg chg="add mod">
          <ac:chgData name="Celine Audibert" userId="8796d7c5-f4bb-47e6-92d8-58fb126ac2b1" providerId="ADAL" clId="{74298F22-B071-4DB0-A1D4-92430E142C14}" dt="2026-02-15T09:36:33.109" v="1036"/>
          <ac:spMkLst>
            <pc:docMk/>
            <pc:sldMk cId="1401601479" sldId="2739"/>
            <ac:spMk id="8" creationId="{47092178-C94F-7D5E-E44F-CBE4F4F2ADC8}"/>
          </ac:spMkLst>
        </pc:spChg>
        <pc:spChg chg="del mod">
          <ac:chgData name="Celine Audibert" userId="8796d7c5-f4bb-47e6-92d8-58fb126ac2b1" providerId="ADAL" clId="{74298F22-B071-4DB0-A1D4-92430E142C14}" dt="2026-02-15T09:27:08.650" v="527" actId="478"/>
          <ac:spMkLst>
            <pc:docMk/>
            <pc:sldMk cId="1401601479" sldId="2739"/>
            <ac:spMk id="9" creationId="{79945789-2AFF-D0B2-F2F8-85E2A6314F0C}"/>
          </ac:spMkLst>
        </pc:spChg>
        <pc:graphicFrameChg chg="del">
          <ac:chgData name="Celine Audibert" userId="8796d7c5-f4bb-47e6-92d8-58fb126ac2b1" providerId="ADAL" clId="{74298F22-B071-4DB0-A1D4-92430E142C14}" dt="2026-02-15T09:26:45.778" v="515" actId="478"/>
          <ac:graphicFrameMkLst>
            <pc:docMk/>
            <pc:sldMk cId="1401601479" sldId="2739"/>
            <ac:graphicFrameMk id="3" creationId="{3C0E00F1-01BB-9234-FDB9-052BC890B064}"/>
          </ac:graphicFrameMkLst>
        </pc:graphicFrameChg>
        <pc:graphicFrameChg chg="del">
          <ac:chgData name="Celine Audibert" userId="8796d7c5-f4bb-47e6-92d8-58fb126ac2b1" providerId="ADAL" clId="{74298F22-B071-4DB0-A1D4-92430E142C14}" dt="2026-02-15T09:26:44.552" v="514" actId="478"/>
          <ac:graphicFrameMkLst>
            <pc:docMk/>
            <pc:sldMk cId="1401601479" sldId="2739"/>
            <ac:graphicFrameMk id="5" creationId="{8F586982-2808-CBE4-AC5B-3618358BE3FB}"/>
          </ac:graphicFrameMkLst>
        </pc:graphicFrameChg>
        <pc:graphicFrameChg chg="add mod">
          <ac:chgData name="Celine Audibert" userId="8796d7c5-f4bb-47e6-92d8-58fb126ac2b1" providerId="ADAL" clId="{74298F22-B071-4DB0-A1D4-92430E142C14}" dt="2026-02-16T12:30:02.110" v="1449" actId="20577"/>
          <ac:graphicFrameMkLst>
            <pc:docMk/>
            <pc:sldMk cId="1401601479" sldId="2739"/>
            <ac:graphicFrameMk id="6" creationId="{A21F287D-EDAD-75DB-87F6-C543B9542896}"/>
          </ac:graphicFrameMkLst>
        </pc:graphicFrameChg>
        <pc:graphicFrameChg chg="add mod">
          <ac:chgData name="Celine Audibert" userId="8796d7c5-f4bb-47e6-92d8-58fb126ac2b1" providerId="ADAL" clId="{74298F22-B071-4DB0-A1D4-92430E142C14}" dt="2026-02-15T09:39:16.646" v="1043"/>
          <ac:graphicFrameMkLst>
            <pc:docMk/>
            <pc:sldMk cId="1401601479" sldId="2739"/>
            <ac:graphicFrameMk id="11" creationId="{F8F66827-2FA2-DCDD-2D8F-85824D000154}"/>
          </ac:graphicFrameMkLst>
        </pc:graphicFrameChg>
        <pc:cxnChg chg="del">
          <ac:chgData name="Celine Audibert" userId="8796d7c5-f4bb-47e6-92d8-58fb126ac2b1" providerId="ADAL" clId="{74298F22-B071-4DB0-A1D4-92430E142C14}" dt="2026-02-15T09:26:47.037" v="516" actId="478"/>
          <ac:cxnSpMkLst>
            <pc:docMk/>
            <pc:sldMk cId="1401601479" sldId="2739"/>
            <ac:cxnSpMk id="10" creationId="{49F2FDF8-DEDA-D98F-3DAC-5ABD85AB6DC2}"/>
          </ac:cxnSpMkLst>
        </pc:cxnChg>
        <pc:cxnChg chg="del">
          <ac:chgData name="Celine Audibert" userId="8796d7c5-f4bb-47e6-92d8-58fb126ac2b1" providerId="ADAL" clId="{74298F22-B071-4DB0-A1D4-92430E142C14}" dt="2026-02-15T09:26:50.199" v="517" actId="478"/>
          <ac:cxnSpMkLst>
            <pc:docMk/>
            <pc:sldMk cId="1401601479" sldId="2739"/>
            <ac:cxnSpMk id="12" creationId="{33EACC0C-3E85-6FF6-5A29-FE0E1BA8E453}"/>
          </ac:cxnSpMkLst>
        </pc:cxnChg>
      </pc:sldChg>
      <pc:sldChg chg="modSp add del mod">
        <pc:chgData name="Celine Audibert" userId="8796d7c5-f4bb-47e6-92d8-58fb126ac2b1" providerId="ADAL" clId="{74298F22-B071-4DB0-A1D4-92430E142C14}" dt="2026-02-15T09:38:18.919" v="1040" actId="47"/>
        <pc:sldMkLst>
          <pc:docMk/>
          <pc:sldMk cId="3079846267" sldId="2740"/>
        </pc:sldMkLst>
        <pc:spChg chg="mod">
          <ac:chgData name="Celine Audibert" userId="8796d7c5-f4bb-47e6-92d8-58fb126ac2b1" providerId="ADAL" clId="{74298F22-B071-4DB0-A1D4-92430E142C14}" dt="2026-02-15T09:38:15.612" v="1039" actId="6549"/>
          <ac:spMkLst>
            <pc:docMk/>
            <pc:sldMk cId="3079846267" sldId="2740"/>
            <ac:spMk id="2" creationId="{CD1CC307-D00B-B9BB-EFBB-9B3E082D3F39}"/>
          </ac:spMkLst>
        </pc:spChg>
      </pc:sldChg>
      <pc:sldChg chg="addSp delSp modSp add del mod">
        <pc:chgData name="Celine Audibert" userId="8796d7c5-f4bb-47e6-92d8-58fb126ac2b1" providerId="ADAL" clId="{74298F22-B071-4DB0-A1D4-92430E142C14}" dt="2026-02-16T12:25:44.803" v="1329" actId="47"/>
        <pc:sldMkLst>
          <pc:docMk/>
          <pc:sldMk cId="3421668323" sldId="2740"/>
        </pc:sldMkLst>
        <pc:spChg chg="mod">
          <ac:chgData name="Celine Audibert" userId="8796d7c5-f4bb-47e6-92d8-58fb126ac2b1" providerId="ADAL" clId="{74298F22-B071-4DB0-A1D4-92430E142C14}" dt="2026-02-15T09:43:37.845" v="1282" actId="20577"/>
          <ac:spMkLst>
            <pc:docMk/>
            <pc:sldMk cId="3421668323" sldId="2740"/>
            <ac:spMk id="7" creationId="{A1CEE85D-7B7B-F99D-12C0-24FB1DB871B0}"/>
          </ac:spMkLst>
        </pc:spChg>
        <pc:graphicFrameChg chg="add mod">
          <ac:chgData name="Celine Audibert" userId="8796d7c5-f4bb-47e6-92d8-58fb126ac2b1" providerId="ADAL" clId="{74298F22-B071-4DB0-A1D4-92430E142C14}" dt="2026-02-15T09:43:44.950" v="1283" actId="20577"/>
          <ac:graphicFrameMkLst>
            <pc:docMk/>
            <pc:sldMk cId="3421668323" sldId="2740"/>
            <ac:graphicFrameMk id="3" creationId="{32994485-D2A1-4FCB-9EFB-B78AEDC2B8BF}"/>
          </ac:graphicFrameMkLst>
        </pc:graphicFrameChg>
        <pc:graphicFrameChg chg="del">
          <ac:chgData name="Celine Audibert" userId="8796d7c5-f4bb-47e6-92d8-58fb126ac2b1" providerId="ADAL" clId="{74298F22-B071-4DB0-A1D4-92430E142C14}" dt="2026-02-15T09:39:30.256" v="1045" actId="478"/>
          <ac:graphicFrameMkLst>
            <pc:docMk/>
            <pc:sldMk cId="3421668323" sldId="2740"/>
            <ac:graphicFrameMk id="6" creationId="{EE0FE56D-8C5A-25E5-5D66-C78A555261C2}"/>
          </ac:graphicFrameMkLst>
        </pc:graphicFrameChg>
      </pc:sldChg>
      <pc:sldChg chg="addSp delSp modSp add mod ord">
        <pc:chgData name="Celine Audibert" userId="8796d7c5-f4bb-47e6-92d8-58fb126ac2b1" providerId="ADAL" clId="{74298F22-B071-4DB0-A1D4-92430E142C14}" dt="2026-02-16T12:31:09.609" v="1498" actId="403"/>
        <pc:sldMkLst>
          <pc:docMk/>
          <pc:sldMk cId="2127050789" sldId="2741"/>
        </pc:sldMkLst>
        <pc:spChg chg="add del mod">
          <ac:chgData name="Celine Audibert" userId="8796d7c5-f4bb-47e6-92d8-58fb126ac2b1" providerId="ADAL" clId="{74298F22-B071-4DB0-A1D4-92430E142C14}" dt="2026-02-15T09:48:36.164" v="1292" actId="478"/>
          <ac:spMkLst>
            <pc:docMk/>
            <pc:sldMk cId="2127050789" sldId="2741"/>
            <ac:spMk id="5" creationId="{B3B04CD9-CB62-3605-555D-28FDB0E08F15}"/>
          </ac:spMkLst>
        </pc:spChg>
        <pc:spChg chg="add mod">
          <ac:chgData name="Celine Audibert" userId="8796d7c5-f4bb-47e6-92d8-58fb126ac2b1" providerId="ADAL" clId="{74298F22-B071-4DB0-A1D4-92430E142C14}" dt="2026-02-16T12:27:58.352" v="1400"/>
          <ac:spMkLst>
            <pc:docMk/>
            <pc:sldMk cId="2127050789" sldId="2741"/>
            <ac:spMk id="5" creationId="{C7E544AB-D3BA-45F5-DD03-874E40B10451}"/>
          </ac:spMkLst>
        </pc:spChg>
        <pc:spChg chg="del">
          <ac:chgData name="Celine Audibert" userId="8796d7c5-f4bb-47e6-92d8-58fb126ac2b1" providerId="ADAL" clId="{74298F22-B071-4DB0-A1D4-92430E142C14}" dt="2026-02-15T09:48:28.838" v="1291" actId="478"/>
          <ac:spMkLst>
            <pc:docMk/>
            <pc:sldMk cId="2127050789" sldId="2741"/>
            <ac:spMk id="7" creationId="{522AA2AD-7A0B-BEA8-DA06-2AF8FAC8E431}"/>
          </ac:spMkLst>
        </pc:spChg>
        <pc:graphicFrameChg chg="add mod">
          <ac:chgData name="Celine Audibert" userId="8796d7c5-f4bb-47e6-92d8-58fb126ac2b1" providerId="ADAL" clId="{74298F22-B071-4DB0-A1D4-92430E142C14}" dt="2026-02-16T12:30:59.072" v="1497" actId="1076"/>
          <ac:graphicFrameMkLst>
            <pc:docMk/>
            <pc:sldMk cId="2127050789" sldId="2741"/>
            <ac:graphicFrameMk id="3" creationId="{20EB84E5-B839-4197-B8B6-F380538CC4D0}"/>
          </ac:graphicFrameMkLst>
        </pc:graphicFrameChg>
        <pc:graphicFrameChg chg="mod">
          <ac:chgData name="Celine Audibert" userId="8796d7c5-f4bb-47e6-92d8-58fb126ac2b1" providerId="ADAL" clId="{74298F22-B071-4DB0-A1D4-92430E142C14}" dt="2026-02-16T12:31:09.609" v="1498" actId="403"/>
          <ac:graphicFrameMkLst>
            <pc:docMk/>
            <pc:sldMk cId="2127050789" sldId="2741"/>
            <ac:graphicFrameMk id="6" creationId="{9F7E7653-9B04-3B0D-4020-6DF1DD4C473A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SMC%20data%20collection/Data%202025%20campaign/SMC%202025%20campaign_Data%20collated_Work%20in%20progres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Annual%20meeting/2026_Kampala_Uganda/Data%20for%20SMC%20annual%20meeting_2026%20Kampal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Annual%20meeting/2026_Kampala_Uganda/Data%20for%20SMC%20annual%20meeting_2026%20Kampala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Annual%20meeting/2026_Kampala_Uganda/Data%20for%20SMC%20annual%20meeting_2026%20Kampala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SMC%20data%20collection/Data%202025%20campaign/SMC%202025%20campaign_Data%20collated_Work%20in%20progress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Annual%20meeting/2026_Kampala_Uganda/Data%20for%20SMC%20annual%20meeting_2026%20Kampala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Annual%20meeting/2026_Kampala_Uganda/Data%20for%20SMC%20annual%20meeting_2026%20Kampala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CH" sz="1600"/>
              <a:t>Average number of children covered by SMC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title>
    <c:autoTitleDeleted val="0"/>
    <c:plotArea>
      <c:layout/>
      <c:areaChart>
        <c:grouping val="stacked"/>
        <c:varyColors val="0"/>
        <c:ser>
          <c:idx val="2"/>
          <c:order val="0"/>
          <c:tx>
            <c:strRef>
              <c:f>Overview!$A$4</c:f>
              <c:strCache>
                <c:ptCount val="1"/>
                <c:pt idx="0">
                  <c:v>Benin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cat>
            <c:strRef>
              <c:f>Overview!$B$3:$O$3</c:f>
              <c:strCach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*</c:v>
                </c:pt>
              </c:strCache>
            </c:strRef>
          </c:cat>
          <c:val>
            <c:numRef>
              <c:f>Overview!$B$4:$O$4</c:f>
              <c:numCache>
                <c:formatCode>General</c:formatCode>
                <c:ptCount val="14"/>
                <c:pt idx="7" formatCode="#,##0">
                  <c:v>114165</c:v>
                </c:pt>
                <c:pt idx="8" formatCode="#,##0">
                  <c:v>236639</c:v>
                </c:pt>
                <c:pt idx="9" formatCode="#,##0">
                  <c:v>374560</c:v>
                </c:pt>
                <c:pt idx="10" formatCode="#,##0">
                  <c:v>414523</c:v>
                </c:pt>
                <c:pt idx="11" formatCode="#,##0">
                  <c:v>447401</c:v>
                </c:pt>
                <c:pt idx="12" formatCode="#,##0">
                  <c:v>643036.1</c:v>
                </c:pt>
                <c:pt idx="13" formatCode="#,##0">
                  <c:v>509101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CB-4D34-ADB6-9E17BC49DF56}"/>
            </c:ext>
          </c:extLst>
        </c:ser>
        <c:ser>
          <c:idx val="3"/>
          <c:order val="1"/>
          <c:tx>
            <c:strRef>
              <c:f>Overview!$A$5</c:f>
              <c:strCache>
                <c:ptCount val="1"/>
                <c:pt idx="0">
                  <c:v>Burkina Faso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cat>
            <c:strRef>
              <c:f>Overview!$B$3:$O$3</c:f>
              <c:strCach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*</c:v>
                </c:pt>
              </c:strCache>
            </c:strRef>
          </c:cat>
          <c:val>
            <c:numRef>
              <c:f>Overview!$B$5:$O$5</c:f>
              <c:numCache>
                <c:formatCode>General</c:formatCode>
                <c:ptCount val="14"/>
                <c:pt idx="2" formatCode="#,##0">
                  <c:v>307770</c:v>
                </c:pt>
                <c:pt idx="3" formatCode="#,##0">
                  <c:v>954047</c:v>
                </c:pt>
                <c:pt idx="4" formatCode="#,##0">
                  <c:v>2647713</c:v>
                </c:pt>
                <c:pt idx="5" formatCode="#,##0">
                  <c:v>2970117</c:v>
                </c:pt>
                <c:pt idx="6" formatCode="#,##0">
                  <c:v>3298397</c:v>
                </c:pt>
                <c:pt idx="7" formatCode="#,##0">
                  <c:v>3298397</c:v>
                </c:pt>
                <c:pt idx="8" formatCode="#,##0">
                  <c:v>4136042</c:v>
                </c:pt>
                <c:pt idx="9" formatCode="#,##0">
                  <c:v>4409619</c:v>
                </c:pt>
                <c:pt idx="10" formatCode="#,##0">
                  <c:v>4542230</c:v>
                </c:pt>
                <c:pt idx="11" formatCode="#,##0">
                  <c:v>4766047</c:v>
                </c:pt>
                <c:pt idx="12" formatCode="#,##0">
                  <c:v>5155475.0999999996</c:v>
                </c:pt>
                <c:pt idx="13" formatCode="#,##0">
                  <c:v>5123741.63333333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2CB-4D34-ADB6-9E17BC49DF56}"/>
            </c:ext>
          </c:extLst>
        </c:ser>
        <c:ser>
          <c:idx val="5"/>
          <c:order val="2"/>
          <c:tx>
            <c:strRef>
              <c:f>Overview!$A$6</c:f>
              <c:strCache>
                <c:ptCount val="1"/>
                <c:pt idx="0">
                  <c:v>Cameroon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cat>
            <c:strRef>
              <c:f>Overview!$B$3:$O$3</c:f>
              <c:strCach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*</c:v>
                </c:pt>
              </c:strCache>
            </c:strRef>
          </c:cat>
          <c:val>
            <c:numRef>
              <c:f>Overview!$B$6:$O$6</c:f>
              <c:numCache>
                <c:formatCode>General</c:formatCode>
                <c:ptCount val="14"/>
                <c:pt idx="4" formatCode="#,##0">
                  <c:v>1428964</c:v>
                </c:pt>
                <c:pt idx="5" formatCode="#,##0">
                  <c:v>1581183</c:v>
                </c:pt>
                <c:pt idx="6" formatCode="#,##0">
                  <c:v>1636658</c:v>
                </c:pt>
                <c:pt idx="7" formatCode="#,##0">
                  <c:v>1681737</c:v>
                </c:pt>
                <c:pt idx="8" formatCode="#,##0">
                  <c:v>1780742</c:v>
                </c:pt>
                <c:pt idx="9" formatCode="#,##0">
                  <c:v>1908941</c:v>
                </c:pt>
                <c:pt idx="10" formatCode="#,##0">
                  <c:v>2021094</c:v>
                </c:pt>
                <c:pt idx="11" formatCode="#,##0">
                  <c:v>2039978</c:v>
                </c:pt>
                <c:pt idx="12" formatCode="#,##0">
                  <c:v>2102103.7000000002</c:v>
                </c:pt>
                <c:pt idx="13" formatCode="#,##0">
                  <c:v>2213085.04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2CB-4D34-ADB6-9E17BC49DF56}"/>
            </c:ext>
          </c:extLst>
        </c:ser>
        <c:ser>
          <c:idx val="6"/>
          <c:order val="3"/>
          <c:tx>
            <c:strRef>
              <c:f>Overview!$A$7</c:f>
              <c:strCache>
                <c:ptCount val="1"/>
                <c:pt idx="0">
                  <c:v>Chad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cat>
            <c:strRef>
              <c:f>Overview!$B$3:$O$3</c:f>
              <c:strCach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*</c:v>
                </c:pt>
              </c:strCache>
            </c:strRef>
          </c:cat>
          <c:val>
            <c:numRef>
              <c:f>Overview!$B$7:$O$7</c:f>
              <c:numCache>
                <c:formatCode>#,##0</c:formatCode>
                <c:ptCount val="14"/>
                <c:pt idx="0">
                  <c:v>10000</c:v>
                </c:pt>
                <c:pt idx="1">
                  <c:v>263972</c:v>
                </c:pt>
                <c:pt idx="2">
                  <c:v>27307</c:v>
                </c:pt>
                <c:pt idx="3">
                  <c:v>500153</c:v>
                </c:pt>
                <c:pt idx="4">
                  <c:v>824806</c:v>
                </c:pt>
                <c:pt idx="5">
                  <c:v>998595</c:v>
                </c:pt>
                <c:pt idx="6">
                  <c:v>1184706</c:v>
                </c:pt>
                <c:pt idx="7">
                  <c:v>1627324</c:v>
                </c:pt>
                <c:pt idx="8">
                  <c:v>2259852</c:v>
                </c:pt>
                <c:pt idx="9">
                  <c:v>2512920</c:v>
                </c:pt>
                <c:pt idx="10">
                  <c:v>2664662</c:v>
                </c:pt>
                <c:pt idx="11">
                  <c:v>2786338</c:v>
                </c:pt>
                <c:pt idx="12">
                  <c:v>3054020.1500000004</c:v>
                </c:pt>
                <c:pt idx="13">
                  <c:v>1646111.31833402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2CB-4D34-ADB6-9E17BC49DF56}"/>
            </c:ext>
          </c:extLst>
        </c:ser>
        <c:ser>
          <c:idx val="7"/>
          <c:order val="4"/>
          <c:tx>
            <c:strRef>
              <c:f>Overview!$A$8</c:f>
              <c:strCache>
                <c:ptCount val="1"/>
                <c:pt idx="0">
                  <c:v>Côte d'Ivoire</c:v>
                </c:pt>
              </c:strCache>
            </c:strRef>
          </c:tx>
          <c:spPr>
            <a:solidFill>
              <a:schemeClr val="accent4">
                <a:lumMod val="80000"/>
                <a:lumOff val="20000"/>
              </a:schemeClr>
            </a:solidFill>
            <a:ln>
              <a:noFill/>
            </a:ln>
            <a:effectLst/>
          </c:spPr>
          <c:cat>
            <c:strRef>
              <c:f>Overview!$B$3:$O$3</c:f>
              <c:strCach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*</c:v>
                </c:pt>
              </c:strCache>
            </c:strRef>
          </c:cat>
          <c:val>
            <c:numRef>
              <c:f>Overview!$B$8:$O$8</c:f>
              <c:numCache>
                <c:formatCode>General</c:formatCode>
                <c:ptCount val="14"/>
                <c:pt idx="11" formatCode="#,##0">
                  <c:v>39652</c:v>
                </c:pt>
                <c:pt idx="12" formatCode="#,##0">
                  <c:v>52506.75</c:v>
                </c:pt>
                <c:pt idx="13" formatCode="#,##0">
                  <c:v>2769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2CB-4D34-ADB6-9E17BC49DF56}"/>
            </c:ext>
          </c:extLst>
        </c:ser>
        <c:ser>
          <c:idx val="8"/>
          <c:order val="5"/>
          <c:tx>
            <c:strRef>
              <c:f>Overview!$A$9</c:f>
              <c:strCache>
                <c:ptCount val="1"/>
                <c:pt idx="0">
                  <c:v>Gambia</c:v>
                </c:pt>
              </c:strCache>
            </c:strRef>
          </c:tx>
          <c:spPr>
            <a:solidFill>
              <a:schemeClr val="accent6">
                <a:lumMod val="80000"/>
                <a:lumOff val="20000"/>
              </a:schemeClr>
            </a:solidFill>
            <a:ln>
              <a:noFill/>
            </a:ln>
            <a:effectLst/>
          </c:spPr>
          <c:cat>
            <c:strRef>
              <c:f>Overview!$B$3:$O$3</c:f>
              <c:strCach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*</c:v>
                </c:pt>
              </c:strCache>
            </c:strRef>
          </c:cat>
          <c:val>
            <c:numRef>
              <c:f>Overview!$B$9:$O$9</c:f>
              <c:numCache>
                <c:formatCode>General</c:formatCode>
                <c:ptCount val="14"/>
                <c:pt idx="2" formatCode="#,##0">
                  <c:v>65271</c:v>
                </c:pt>
                <c:pt idx="3" formatCode="#,##0">
                  <c:v>76450</c:v>
                </c:pt>
                <c:pt idx="4" formatCode="#,##0">
                  <c:v>73710</c:v>
                </c:pt>
                <c:pt idx="5" formatCode="#,##0">
                  <c:v>76601</c:v>
                </c:pt>
                <c:pt idx="6" formatCode="#,##0">
                  <c:v>112841</c:v>
                </c:pt>
                <c:pt idx="7" formatCode="#,##0">
                  <c:v>110870</c:v>
                </c:pt>
                <c:pt idx="8" formatCode="#,##0">
                  <c:v>121834</c:v>
                </c:pt>
                <c:pt idx="9" formatCode="#,##0">
                  <c:v>76045</c:v>
                </c:pt>
                <c:pt idx="10" formatCode="#,##0">
                  <c:v>79205</c:v>
                </c:pt>
                <c:pt idx="11" formatCode="#,##0">
                  <c:v>84051</c:v>
                </c:pt>
                <c:pt idx="12" formatCode="#,##0">
                  <c:v>78951.5</c:v>
                </c:pt>
                <c:pt idx="13" formatCode="#,##0">
                  <c:v>1313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2CB-4D34-ADB6-9E17BC49DF56}"/>
            </c:ext>
          </c:extLst>
        </c:ser>
        <c:ser>
          <c:idx val="9"/>
          <c:order val="6"/>
          <c:tx>
            <c:strRef>
              <c:f>Overview!$A$10</c:f>
              <c:strCache>
                <c:ptCount val="1"/>
                <c:pt idx="0">
                  <c:v>Ghana</c:v>
                </c:pt>
              </c:strCache>
            </c:strRef>
          </c:tx>
          <c:spPr>
            <a:solidFill>
              <a:schemeClr val="accent2">
                <a:lumMod val="80000"/>
              </a:schemeClr>
            </a:solidFill>
            <a:ln>
              <a:noFill/>
            </a:ln>
            <a:effectLst/>
          </c:spPr>
          <c:cat>
            <c:strRef>
              <c:f>Overview!$B$3:$O$3</c:f>
              <c:strCach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*</c:v>
                </c:pt>
              </c:strCache>
            </c:strRef>
          </c:cat>
          <c:val>
            <c:numRef>
              <c:f>Overview!$B$10:$O$10</c:f>
              <c:numCache>
                <c:formatCode>General</c:formatCode>
                <c:ptCount val="14"/>
                <c:pt idx="3" formatCode="#,##0">
                  <c:v>115309</c:v>
                </c:pt>
                <c:pt idx="4" formatCode="#,##0">
                  <c:v>303019</c:v>
                </c:pt>
                <c:pt idx="5" formatCode="#,##0">
                  <c:v>327446</c:v>
                </c:pt>
                <c:pt idx="6" formatCode="#,##0">
                  <c:v>329953</c:v>
                </c:pt>
                <c:pt idx="7" formatCode="#,##0">
                  <c:v>964956</c:v>
                </c:pt>
                <c:pt idx="8" formatCode="#,##0">
                  <c:v>1033812</c:v>
                </c:pt>
                <c:pt idx="9" formatCode="#,##0">
                  <c:v>1322251</c:v>
                </c:pt>
                <c:pt idx="10" formatCode="#,##0">
                  <c:v>1382709</c:v>
                </c:pt>
                <c:pt idx="11" formatCode="#,##0">
                  <c:v>1435474</c:v>
                </c:pt>
                <c:pt idx="12" formatCode="#,##0">
                  <c:v>1541211.2</c:v>
                </c:pt>
                <c:pt idx="13" formatCode="#,##0">
                  <c:v>147023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2CB-4D34-ADB6-9E17BC49DF56}"/>
            </c:ext>
          </c:extLst>
        </c:ser>
        <c:ser>
          <c:idx val="10"/>
          <c:order val="7"/>
          <c:tx>
            <c:strRef>
              <c:f>Overview!$A$11</c:f>
              <c:strCache>
                <c:ptCount val="1"/>
                <c:pt idx="0">
                  <c:v>Guinea</c:v>
                </c:pt>
              </c:strCache>
            </c:strRef>
          </c:tx>
          <c:spPr>
            <a:solidFill>
              <a:schemeClr val="accent4">
                <a:lumMod val="80000"/>
              </a:schemeClr>
            </a:solidFill>
            <a:ln>
              <a:noFill/>
            </a:ln>
            <a:effectLst/>
          </c:spPr>
          <c:cat>
            <c:strRef>
              <c:f>Overview!$B$3:$O$3</c:f>
              <c:strCach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*</c:v>
                </c:pt>
              </c:strCache>
            </c:strRef>
          </c:cat>
          <c:val>
            <c:numRef>
              <c:f>Overview!$B$11:$O$11</c:f>
              <c:numCache>
                <c:formatCode>General</c:formatCode>
                <c:ptCount val="14"/>
                <c:pt idx="3" formatCode="#,##0">
                  <c:v>201283</c:v>
                </c:pt>
                <c:pt idx="4" formatCode="#,##0">
                  <c:v>442177</c:v>
                </c:pt>
                <c:pt idx="5" formatCode="#,##0">
                  <c:v>575927</c:v>
                </c:pt>
                <c:pt idx="6" formatCode="#,##0">
                  <c:v>840120</c:v>
                </c:pt>
                <c:pt idx="7" formatCode="#,##0">
                  <c:v>841090</c:v>
                </c:pt>
                <c:pt idx="8" formatCode="#,##0">
                  <c:v>1088194</c:v>
                </c:pt>
                <c:pt idx="9" formatCode="#,##0">
                  <c:v>1122434</c:v>
                </c:pt>
                <c:pt idx="10" formatCode="#,##0">
                  <c:v>1163812</c:v>
                </c:pt>
                <c:pt idx="11" formatCode="#,##0">
                  <c:v>1196584</c:v>
                </c:pt>
                <c:pt idx="12" formatCode="#,##0">
                  <c:v>1312115.6000000001</c:v>
                </c:pt>
                <c:pt idx="13" formatCode="#,##0">
                  <c:v>1361037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2CB-4D34-ADB6-9E17BC49DF56}"/>
            </c:ext>
          </c:extLst>
        </c:ser>
        <c:ser>
          <c:idx val="11"/>
          <c:order val="8"/>
          <c:tx>
            <c:strRef>
              <c:f>Overview!$A$12</c:f>
              <c:strCache>
                <c:ptCount val="1"/>
                <c:pt idx="0">
                  <c:v>Guinea Bissau</c:v>
                </c:pt>
              </c:strCache>
            </c:strRef>
          </c:tx>
          <c:spPr>
            <a:solidFill>
              <a:schemeClr val="accent6">
                <a:lumMod val="80000"/>
              </a:schemeClr>
            </a:solidFill>
            <a:ln>
              <a:noFill/>
            </a:ln>
            <a:effectLst/>
          </c:spPr>
          <c:cat>
            <c:strRef>
              <c:f>Overview!$B$3:$O$3</c:f>
              <c:strCach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*</c:v>
                </c:pt>
              </c:strCache>
            </c:strRef>
          </c:cat>
          <c:val>
            <c:numRef>
              <c:f>Overview!$B$12:$O$12</c:f>
              <c:numCache>
                <c:formatCode>General</c:formatCode>
                <c:ptCount val="14"/>
                <c:pt idx="4" formatCode="#,##0">
                  <c:v>42097</c:v>
                </c:pt>
                <c:pt idx="5" formatCode="#,##0">
                  <c:v>166162</c:v>
                </c:pt>
                <c:pt idx="6" formatCode="#,##0">
                  <c:v>42571</c:v>
                </c:pt>
                <c:pt idx="7" formatCode="#,##0">
                  <c:v>86107</c:v>
                </c:pt>
                <c:pt idx="8" formatCode="#,##0">
                  <c:v>86107</c:v>
                </c:pt>
                <c:pt idx="9" formatCode="#,##0">
                  <c:v>108394</c:v>
                </c:pt>
                <c:pt idx="10" formatCode="#,##0">
                  <c:v>113002</c:v>
                </c:pt>
                <c:pt idx="11" formatCode="#,##0">
                  <c:v>116031</c:v>
                </c:pt>
                <c:pt idx="12" formatCode="#,##0">
                  <c:v>218250.5</c:v>
                </c:pt>
                <c:pt idx="13" formatCode="#,##0">
                  <c:v>107896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2CB-4D34-ADB6-9E17BC49DF56}"/>
            </c:ext>
          </c:extLst>
        </c:ser>
        <c:ser>
          <c:idx val="12"/>
          <c:order val="9"/>
          <c:tx>
            <c:strRef>
              <c:f>Overview!$A$13</c:f>
              <c:strCache>
                <c:ptCount val="1"/>
                <c:pt idx="0">
                  <c:v>Kenya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cat>
            <c:strRef>
              <c:f>Overview!$B$3:$O$3</c:f>
              <c:strCach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*</c:v>
                </c:pt>
              </c:strCache>
            </c:strRef>
          </c:cat>
          <c:val>
            <c:numRef>
              <c:f>Overview!$B$13:$O$13</c:f>
              <c:numCache>
                <c:formatCode>General</c:formatCode>
                <c:ptCount val="14"/>
                <c:pt idx="12" formatCode="#,##0">
                  <c:v>37767.4</c:v>
                </c:pt>
                <c:pt idx="13" formatCode="#,##0">
                  <c:v>73204.8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2CB-4D34-ADB6-9E17BC49DF56}"/>
            </c:ext>
          </c:extLst>
        </c:ser>
        <c:ser>
          <c:idx val="13"/>
          <c:order val="10"/>
          <c:tx>
            <c:strRef>
              <c:f>Overview!$A$14</c:f>
              <c:strCache>
                <c:ptCount val="1"/>
                <c:pt idx="0">
                  <c:v>Mali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cat>
            <c:strRef>
              <c:f>Overview!$B$3:$O$3</c:f>
              <c:strCach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*</c:v>
                </c:pt>
              </c:strCache>
            </c:strRef>
          </c:cat>
          <c:val>
            <c:numRef>
              <c:f>Overview!$B$14:$O$14</c:f>
              <c:numCache>
                <c:formatCode>#,##0</c:formatCode>
                <c:ptCount val="14"/>
                <c:pt idx="0">
                  <c:v>160000</c:v>
                </c:pt>
                <c:pt idx="1">
                  <c:v>537294</c:v>
                </c:pt>
                <c:pt idx="2">
                  <c:v>524742</c:v>
                </c:pt>
                <c:pt idx="3">
                  <c:v>1999987</c:v>
                </c:pt>
                <c:pt idx="4">
                  <c:v>3980684</c:v>
                </c:pt>
                <c:pt idx="5">
                  <c:v>3990096</c:v>
                </c:pt>
                <c:pt idx="6">
                  <c:v>4299242</c:v>
                </c:pt>
                <c:pt idx="7">
                  <c:v>3767820</c:v>
                </c:pt>
                <c:pt idx="8">
                  <c:v>3767099</c:v>
                </c:pt>
                <c:pt idx="9">
                  <c:v>3357846</c:v>
                </c:pt>
                <c:pt idx="10">
                  <c:v>3838060</c:v>
                </c:pt>
                <c:pt idx="11">
                  <c:v>3808664</c:v>
                </c:pt>
                <c:pt idx="12">
                  <c:v>4359409.6833333327</c:v>
                </c:pt>
                <c:pt idx="13">
                  <c:v>406437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2CB-4D34-ADB6-9E17BC49DF56}"/>
            </c:ext>
          </c:extLst>
        </c:ser>
        <c:ser>
          <c:idx val="14"/>
          <c:order val="11"/>
          <c:tx>
            <c:strRef>
              <c:f>Overview!$A$15</c:f>
              <c:strCache>
                <c:ptCount val="1"/>
                <c:pt idx="0">
                  <c:v>Mauritania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cat>
            <c:strRef>
              <c:f>Overview!$B$3:$O$3</c:f>
              <c:strCach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*</c:v>
                </c:pt>
              </c:strCache>
            </c:strRef>
          </c:cat>
          <c:val>
            <c:numRef>
              <c:f>Overview!$B$15:$O$15</c:f>
              <c:numCache>
                <c:formatCode>General</c:formatCode>
                <c:ptCount val="14"/>
                <c:pt idx="10" formatCode="#,##0">
                  <c:v>57574</c:v>
                </c:pt>
                <c:pt idx="11" formatCode="#,##0">
                  <c:v>90582</c:v>
                </c:pt>
                <c:pt idx="12" formatCode="#,##0">
                  <c:v>103974</c:v>
                </c:pt>
                <c:pt idx="13" formatCode="#,##0">
                  <c:v>72350.3333333333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2CB-4D34-ADB6-9E17BC49DF56}"/>
            </c:ext>
          </c:extLst>
        </c:ser>
        <c:ser>
          <c:idx val="15"/>
          <c:order val="12"/>
          <c:tx>
            <c:strRef>
              <c:f>Overview!$A$16</c:f>
              <c:strCache>
                <c:ptCount val="1"/>
                <c:pt idx="0">
                  <c:v>Mozambique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cat>
            <c:strRef>
              <c:f>Overview!$B$3:$O$3</c:f>
              <c:strCach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*</c:v>
                </c:pt>
              </c:strCache>
            </c:strRef>
          </c:cat>
          <c:val>
            <c:numRef>
              <c:f>Overview!$B$16:$O$16</c:f>
              <c:numCache>
                <c:formatCode>General</c:formatCode>
                <c:ptCount val="14"/>
                <c:pt idx="9" formatCode="#,##0">
                  <c:v>119254</c:v>
                </c:pt>
                <c:pt idx="10" formatCode="#,##0">
                  <c:v>1299671</c:v>
                </c:pt>
                <c:pt idx="11" formatCode="#,##0">
                  <c:v>1319628</c:v>
                </c:pt>
                <c:pt idx="12" formatCode="#,##0">
                  <c:v>427233.25</c:v>
                </c:pt>
                <c:pt idx="13" formatCode="#,##0">
                  <c:v>16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2CB-4D34-ADB6-9E17BC49DF56}"/>
            </c:ext>
          </c:extLst>
        </c:ser>
        <c:ser>
          <c:idx val="16"/>
          <c:order val="13"/>
          <c:tx>
            <c:strRef>
              <c:f>Overview!$A$17</c:f>
              <c:strCache>
                <c:ptCount val="1"/>
                <c:pt idx="0">
                  <c:v>Niger</c:v>
                </c:pt>
              </c:strCache>
            </c:strRef>
          </c:tx>
          <c:spPr>
            <a:solidFill>
              <a:schemeClr val="accent4">
                <a:lumMod val="50000"/>
              </a:schemeClr>
            </a:solidFill>
            <a:ln>
              <a:noFill/>
            </a:ln>
            <a:effectLst/>
          </c:spPr>
          <c:cat>
            <c:strRef>
              <c:f>Overview!$B$3:$O$3</c:f>
              <c:strCach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*</c:v>
                </c:pt>
              </c:strCache>
            </c:strRef>
          </c:cat>
          <c:val>
            <c:numRef>
              <c:f>Overview!$B$17:$O$17</c:f>
              <c:numCache>
                <c:formatCode>#,##0</c:formatCode>
                <c:ptCount val="14"/>
                <c:pt idx="1">
                  <c:v>225970</c:v>
                </c:pt>
                <c:pt idx="2">
                  <c:v>528681</c:v>
                </c:pt>
                <c:pt idx="3">
                  <c:v>624121</c:v>
                </c:pt>
                <c:pt idx="4">
                  <c:v>2361924</c:v>
                </c:pt>
                <c:pt idx="5">
                  <c:v>2545885</c:v>
                </c:pt>
                <c:pt idx="6">
                  <c:v>3952400</c:v>
                </c:pt>
                <c:pt idx="7">
                  <c:v>4151103</c:v>
                </c:pt>
                <c:pt idx="8">
                  <c:v>4516729</c:v>
                </c:pt>
                <c:pt idx="9">
                  <c:v>4457575</c:v>
                </c:pt>
                <c:pt idx="10">
                  <c:v>4686792</c:v>
                </c:pt>
                <c:pt idx="11">
                  <c:v>4745805.2</c:v>
                </c:pt>
                <c:pt idx="12">
                  <c:v>5096146.3666666672</c:v>
                </c:pt>
                <c:pt idx="13">
                  <c:v>5529119.79859635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72CB-4D34-ADB6-9E17BC49DF56}"/>
            </c:ext>
          </c:extLst>
        </c:ser>
        <c:ser>
          <c:idx val="17"/>
          <c:order val="14"/>
          <c:tx>
            <c:strRef>
              <c:f>Overview!$A$18</c:f>
              <c:strCache>
                <c:ptCount val="1"/>
                <c:pt idx="0">
                  <c:v>Nigeria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>
              <a:noFill/>
            </a:ln>
            <a:effectLst/>
          </c:spPr>
          <c:cat>
            <c:strRef>
              <c:f>Overview!$B$3:$O$3</c:f>
              <c:strCach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*</c:v>
                </c:pt>
              </c:strCache>
            </c:strRef>
          </c:cat>
          <c:val>
            <c:numRef>
              <c:f>Overview!$B$18:$O$18</c:f>
              <c:numCache>
                <c:formatCode>#,##0</c:formatCode>
                <c:ptCount val="14"/>
                <c:pt idx="1">
                  <c:v>209451</c:v>
                </c:pt>
                <c:pt idx="2">
                  <c:v>370280</c:v>
                </c:pt>
                <c:pt idx="3">
                  <c:v>787399</c:v>
                </c:pt>
                <c:pt idx="4">
                  <c:v>1696770</c:v>
                </c:pt>
                <c:pt idx="5">
                  <c:v>3538757</c:v>
                </c:pt>
                <c:pt idx="6">
                  <c:v>3508924</c:v>
                </c:pt>
                <c:pt idx="7">
                  <c:v>4191166</c:v>
                </c:pt>
                <c:pt idx="8">
                  <c:v>13236139</c:v>
                </c:pt>
                <c:pt idx="9">
                  <c:v>23922101</c:v>
                </c:pt>
                <c:pt idx="10">
                  <c:v>25571387</c:v>
                </c:pt>
                <c:pt idx="11">
                  <c:v>28612432.849999998</c:v>
                </c:pt>
                <c:pt idx="12">
                  <c:v>28513827.149999999</c:v>
                </c:pt>
                <c:pt idx="13">
                  <c:v>29427763.05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2CB-4D34-ADB6-9E17BC49DF56}"/>
            </c:ext>
          </c:extLst>
        </c:ser>
        <c:ser>
          <c:idx val="4"/>
          <c:order val="15"/>
          <c:tx>
            <c:strRef>
              <c:f>Overview!$A$19</c:f>
              <c:strCache>
                <c:ptCount val="1"/>
                <c:pt idx="0">
                  <c:v>Senegal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cat>
            <c:strRef>
              <c:f>Overview!$B$3:$O$3</c:f>
              <c:strCach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*</c:v>
                </c:pt>
              </c:strCache>
            </c:strRef>
          </c:cat>
          <c:val>
            <c:numRef>
              <c:f>Overview!$B$19:$O$19</c:f>
              <c:numCache>
                <c:formatCode>#,##0</c:formatCode>
                <c:ptCount val="14"/>
                <c:pt idx="1">
                  <c:v>55709</c:v>
                </c:pt>
                <c:pt idx="2">
                  <c:v>595745</c:v>
                </c:pt>
                <c:pt idx="3">
                  <c:v>614581</c:v>
                </c:pt>
                <c:pt idx="4">
                  <c:v>621503</c:v>
                </c:pt>
                <c:pt idx="5">
                  <c:v>631897</c:v>
                </c:pt>
                <c:pt idx="7">
                  <c:v>879652</c:v>
                </c:pt>
                <c:pt idx="8">
                  <c:v>687959</c:v>
                </c:pt>
                <c:pt idx="9">
                  <c:v>748116</c:v>
                </c:pt>
                <c:pt idx="10">
                  <c:v>801729</c:v>
                </c:pt>
                <c:pt idx="11">
                  <c:v>839886</c:v>
                </c:pt>
                <c:pt idx="12">
                  <c:v>800234.6166666667</c:v>
                </c:pt>
                <c:pt idx="13">
                  <c:v>709533.333333333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72CB-4D34-ADB6-9E17BC49DF56}"/>
            </c:ext>
          </c:extLst>
        </c:ser>
        <c:ser>
          <c:idx val="18"/>
          <c:order val="16"/>
          <c:tx>
            <c:strRef>
              <c:f>Overview!$A$20</c:f>
              <c:strCache>
                <c:ptCount val="1"/>
                <c:pt idx="0">
                  <c:v>South Sudan</c:v>
                </c:pt>
              </c:strCache>
            </c:strRef>
          </c:tx>
          <c:spPr>
            <a:solidFill>
              <a:schemeClr val="accent2">
                <a:lumMod val="70000"/>
                <a:lumOff val="30000"/>
              </a:schemeClr>
            </a:solidFill>
            <a:ln>
              <a:noFill/>
            </a:ln>
            <a:effectLst/>
          </c:spPr>
          <c:cat>
            <c:strRef>
              <c:f>Overview!$B$3:$O$3</c:f>
              <c:strCach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*</c:v>
                </c:pt>
              </c:strCache>
            </c:strRef>
          </c:cat>
          <c:val>
            <c:numRef>
              <c:f>Overview!$B$20:$O$20</c:f>
              <c:numCache>
                <c:formatCode>General</c:formatCode>
                <c:ptCount val="14"/>
                <c:pt idx="10" formatCode="#,##0">
                  <c:v>18000</c:v>
                </c:pt>
                <c:pt idx="11" formatCode="#,##0">
                  <c:v>69596</c:v>
                </c:pt>
                <c:pt idx="12" formatCode="#,##0">
                  <c:v>76275.399999999994</c:v>
                </c:pt>
                <c:pt idx="13" formatCode="#,##0">
                  <c:v>845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72CB-4D34-ADB6-9E17BC49DF56}"/>
            </c:ext>
          </c:extLst>
        </c:ser>
        <c:ser>
          <c:idx val="0"/>
          <c:order val="17"/>
          <c:tx>
            <c:strRef>
              <c:f>Overview!$A$21</c:f>
              <c:strCache>
                <c:ptCount val="1"/>
                <c:pt idx="0">
                  <c:v>Tog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strRef>
              <c:f>Overview!$B$3:$O$3</c:f>
              <c:strCach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*</c:v>
                </c:pt>
              </c:strCache>
            </c:strRef>
          </c:cat>
          <c:val>
            <c:numRef>
              <c:f>Overview!$B$21:$O$21</c:f>
              <c:numCache>
                <c:formatCode>#,##0</c:formatCode>
                <c:ptCount val="14"/>
                <c:pt idx="1">
                  <c:v>119222</c:v>
                </c:pt>
                <c:pt idx="2">
                  <c:v>170165</c:v>
                </c:pt>
                <c:pt idx="4">
                  <c:v>411811</c:v>
                </c:pt>
                <c:pt idx="5">
                  <c:v>420451</c:v>
                </c:pt>
                <c:pt idx="6">
                  <c:v>434161</c:v>
                </c:pt>
                <c:pt idx="7">
                  <c:v>453907</c:v>
                </c:pt>
                <c:pt idx="8">
                  <c:v>486716</c:v>
                </c:pt>
                <c:pt idx="9">
                  <c:v>475997</c:v>
                </c:pt>
                <c:pt idx="10">
                  <c:v>519141</c:v>
                </c:pt>
                <c:pt idx="11">
                  <c:v>453404</c:v>
                </c:pt>
                <c:pt idx="12">
                  <c:v>565702.39999999991</c:v>
                </c:pt>
                <c:pt idx="13">
                  <c:v>5966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72CB-4D34-ADB6-9E17BC49DF56}"/>
            </c:ext>
          </c:extLst>
        </c:ser>
        <c:ser>
          <c:idx val="19"/>
          <c:order val="18"/>
          <c:tx>
            <c:strRef>
              <c:f>Overview!$A$22</c:f>
              <c:strCache>
                <c:ptCount val="1"/>
                <c:pt idx="0">
                  <c:v>Uganda</c:v>
                </c:pt>
              </c:strCache>
            </c:strRef>
          </c:tx>
          <c:spPr>
            <a:solidFill>
              <a:schemeClr val="accent4">
                <a:lumMod val="70000"/>
                <a:lumOff val="30000"/>
              </a:schemeClr>
            </a:solidFill>
            <a:ln>
              <a:noFill/>
            </a:ln>
            <a:effectLst/>
          </c:spPr>
          <c:cat>
            <c:strRef>
              <c:f>Overview!$B$3:$O$3</c:f>
              <c:strCach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*</c:v>
                </c:pt>
              </c:strCache>
            </c:strRef>
          </c:cat>
          <c:val>
            <c:numRef>
              <c:f>Overview!$B$22:$O$22</c:f>
              <c:numCache>
                <c:formatCode>General</c:formatCode>
                <c:ptCount val="14"/>
                <c:pt idx="9" formatCode="#,##0">
                  <c:v>81899</c:v>
                </c:pt>
                <c:pt idx="10" formatCode="#,##0">
                  <c:v>212158</c:v>
                </c:pt>
                <c:pt idx="11" formatCode="#,##0">
                  <c:v>263016</c:v>
                </c:pt>
                <c:pt idx="12" formatCode="#,##0">
                  <c:v>276153.40000000002</c:v>
                </c:pt>
                <c:pt idx="13" formatCode="#,##0">
                  <c:v>364792.1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72CB-4D34-ADB6-9E17BC49DF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3962559"/>
        <c:axId val="33964223"/>
        <c:extLst/>
      </c:areaChart>
      <c:catAx>
        <c:axId val="339625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33964223"/>
        <c:crosses val="autoZero"/>
        <c:auto val="1"/>
        <c:lblAlgn val="ctr"/>
        <c:lblOffset val="100"/>
        <c:noMultiLvlLbl val="0"/>
      </c:catAx>
      <c:valAx>
        <c:axId val="33964223"/>
        <c:scaling>
          <c:orientation val="minMax"/>
          <c:max val="6000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33962559"/>
        <c:crosses val="autoZero"/>
        <c:crossBetween val="midCat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168606738372758"/>
          <c:y val="4.6142804064290492E-2"/>
          <c:w val="9.9440819186326176E-2"/>
          <c:h val="0.907975345169004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aseline="0" dirty="0"/>
              <a:t>Delta 2025* versus 2024</a:t>
            </a:r>
            <a:endParaRPr lang="en-US" sz="14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Graphs!$B$1576</c:f>
              <c:strCache>
                <c:ptCount val="1"/>
                <c:pt idx="0">
                  <c:v>Delta 2024/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Graphs!$A$1577:$A$1594</c:f>
              <c:strCache>
                <c:ptCount val="18"/>
                <c:pt idx="0">
                  <c:v>Chad</c:v>
                </c:pt>
                <c:pt idx="1">
                  <c:v>Mali</c:v>
                </c:pt>
                <c:pt idx="2">
                  <c:v>Benin</c:v>
                </c:pt>
                <c:pt idx="3">
                  <c:v>Guinea Bissau</c:v>
                </c:pt>
                <c:pt idx="4">
                  <c:v>Senegal</c:v>
                </c:pt>
                <c:pt idx="5">
                  <c:v>Ghana</c:v>
                </c:pt>
                <c:pt idx="6">
                  <c:v>Burkina Faso</c:v>
                </c:pt>
                <c:pt idx="7">
                  <c:v>Mauritania</c:v>
                </c:pt>
                <c:pt idx="8">
                  <c:v>South Sudan</c:v>
                </c:pt>
                <c:pt idx="9">
                  <c:v>Togo</c:v>
                </c:pt>
                <c:pt idx="10">
                  <c:v>Kenya</c:v>
                </c:pt>
                <c:pt idx="11">
                  <c:v>Guinea</c:v>
                </c:pt>
                <c:pt idx="12">
                  <c:v>Gambia</c:v>
                </c:pt>
                <c:pt idx="13">
                  <c:v>Uganda</c:v>
                </c:pt>
                <c:pt idx="14">
                  <c:v>Cameroon</c:v>
                </c:pt>
                <c:pt idx="15">
                  <c:v>Côte d'Ivoire</c:v>
                </c:pt>
                <c:pt idx="16">
                  <c:v>Niger</c:v>
                </c:pt>
                <c:pt idx="17">
                  <c:v>Nigeria</c:v>
                </c:pt>
              </c:strCache>
            </c:strRef>
          </c:cat>
          <c:val>
            <c:numRef>
              <c:f>Graphs!$B$1577:$B$1594</c:f>
              <c:numCache>
                <c:formatCode>#,##0</c:formatCode>
                <c:ptCount val="18"/>
                <c:pt idx="0">
                  <c:v>-1407908.8316659748</c:v>
                </c:pt>
                <c:pt idx="1">
                  <c:v>-295036.08333333256</c:v>
                </c:pt>
                <c:pt idx="2">
                  <c:v>-133935</c:v>
                </c:pt>
                <c:pt idx="3">
                  <c:v>-110353.75</c:v>
                </c:pt>
                <c:pt idx="4">
                  <c:v>-90701.283333333326</c:v>
                </c:pt>
                <c:pt idx="5">
                  <c:v>-70977.699999999953</c:v>
                </c:pt>
                <c:pt idx="6">
                  <c:v>-31733.466666666791</c:v>
                </c:pt>
                <c:pt idx="7">
                  <c:v>-31623.666666666657</c:v>
                </c:pt>
                <c:pt idx="8">
                  <c:v>8235.6000000000058</c:v>
                </c:pt>
                <c:pt idx="9">
                  <c:v>30960.600000000093</c:v>
                </c:pt>
                <c:pt idx="10">
                  <c:v>35437.499999999993</c:v>
                </c:pt>
                <c:pt idx="11">
                  <c:v>48922.34999999986</c:v>
                </c:pt>
                <c:pt idx="12">
                  <c:v>52393.5</c:v>
                </c:pt>
                <c:pt idx="13">
                  <c:v>88638.79999999993</c:v>
                </c:pt>
                <c:pt idx="14">
                  <c:v>110981.34999999963</c:v>
                </c:pt>
                <c:pt idx="15">
                  <c:v>224455.25</c:v>
                </c:pt>
                <c:pt idx="16">
                  <c:v>432973.43192969169</c:v>
                </c:pt>
                <c:pt idx="17">
                  <c:v>913935.900000002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20-40D0-ACA7-6244F49588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954717136"/>
        <c:axId val="1657366895"/>
      </c:barChart>
      <c:catAx>
        <c:axId val="954717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657366895"/>
        <c:crosses val="autoZero"/>
        <c:auto val="1"/>
        <c:lblAlgn val="ctr"/>
        <c:lblOffset val="100"/>
        <c:noMultiLvlLbl val="0"/>
      </c:catAx>
      <c:valAx>
        <c:axId val="16573668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/>
                  <a:t>Number of children treate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CH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954717136"/>
        <c:crosses val="autoZero"/>
        <c:crossBetween val="between"/>
        <c:dispUnits>
          <c:builtInUnit val="thousand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aseline="0" dirty="0"/>
              <a:t>Delta 2025 versus 2024</a:t>
            </a:r>
            <a:endParaRPr lang="en-US" sz="14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Graphs!$B$1576</c:f>
              <c:strCache>
                <c:ptCount val="1"/>
                <c:pt idx="0">
                  <c:v>Delta 2024/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Graphs!$A$1577:$A$1594</c:f>
              <c:strCache>
                <c:ptCount val="18"/>
                <c:pt idx="0">
                  <c:v>Chad</c:v>
                </c:pt>
                <c:pt idx="1">
                  <c:v>Mali</c:v>
                </c:pt>
                <c:pt idx="2">
                  <c:v>Benin</c:v>
                </c:pt>
                <c:pt idx="3">
                  <c:v>Guinea Bissau</c:v>
                </c:pt>
                <c:pt idx="4">
                  <c:v>Senegal</c:v>
                </c:pt>
                <c:pt idx="5">
                  <c:v>Ghana</c:v>
                </c:pt>
                <c:pt idx="6">
                  <c:v>Burkina Faso</c:v>
                </c:pt>
                <c:pt idx="7">
                  <c:v>Mauritania</c:v>
                </c:pt>
                <c:pt idx="8">
                  <c:v>South Sudan</c:v>
                </c:pt>
                <c:pt idx="9">
                  <c:v>Togo</c:v>
                </c:pt>
                <c:pt idx="10">
                  <c:v>Kenya</c:v>
                </c:pt>
                <c:pt idx="11">
                  <c:v>Guinea</c:v>
                </c:pt>
                <c:pt idx="12">
                  <c:v>Gambia</c:v>
                </c:pt>
                <c:pt idx="13">
                  <c:v>Uganda</c:v>
                </c:pt>
                <c:pt idx="14">
                  <c:v>Cameroon</c:v>
                </c:pt>
                <c:pt idx="15">
                  <c:v>Côte d'Ivoire</c:v>
                </c:pt>
                <c:pt idx="16">
                  <c:v>Niger</c:v>
                </c:pt>
                <c:pt idx="17">
                  <c:v>Nigeria</c:v>
                </c:pt>
              </c:strCache>
            </c:strRef>
          </c:cat>
          <c:val>
            <c:numRef>
              <c:f>Graphs!$B$1577:$B$1594</c:f>
              <c:numCache>
                <c:formatCode>#,##0</c:formatCode>
                <c:ptCount val="18"/>
                <c:pt idx="0">
                  <c:v>-1407908.8316659748</c:v>
                </c:pt>
                <c:pt idx="1">
                  <c:v>-295036.08333333256</c:v>
                </c:pt>
                <c:pt idx="2">
                  <c:v>-133935</c:v>
                </c:pt>
                <c:pt idx="3">
                  <c:v>-110353.75</c:v>
                </c:pt>
                <c:pt idx="4">
                  <c:v>-90701.283333333326</c:v>
                </c:pt>
                <c:pt idx="5">
                  <c:v>-70977.699999999953</c:v>
                </c:pt>
                <c:pt idx="6">
                  <c:v>-31733.466666666791</c:v>
                </c:pt>
                <c:pt idx="7">
                  <c:v>-31623.666666666657</c:v>
                </c:pt>
                <c:pt idx="8">
                  <c:v>8235.6000000000058</c:v>
                </c:pt>
                <c:pt idx="9">
                  <c:v>30960.600000000093</c:v>
                </c:pt>
                <c:pt idx="10">
                  <c:v>35437.499999999993</c:v>
                </c:pt>
                <c:pt idx="11">
                  <c:v>48922.34999999986</c:v>
                </c:pt>
                <c:pt idx="12">
                  <c:v>52393.5</c:v>
                </c:pt>
                <c:pt idx="13">
                  <c:v>88638.79999999993</c:v>
                </c:pt>
                <c:pt idx="14">
                  <c:v>110981.34999999963</c:v>
                </c:pt>
                <c:pt idx="15">
                  <c:v>224455.25</c:v>
                </c:pt>
                <c:pt idx="16">
                  <c:v>432973.43192969169</c:v>
                </c:pt>
                <c:pt idx="17">
                  <c:v>913935.900000002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20-40D0-ACA7-6244F49588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954717136"/>
        <c:axId val="1657366895"/>
      </c:barChart>
      <c:catAx>
        <c:axId val="954717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657366895"/>
        <c:crosses val="autoZero"/>
        <c:auto val="1"/>
        <c:lblAlgn val="ctr"/>
        <c:lblOffset val="100"/>
        <c:noMultiLvlLbl val="0"/>
      </c:catAx>
      <c:valAx>
        <c:axId val="16573668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/>
                  <a:t>Number of children treate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CH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954717136"/>
        <c:crosses val="autoZero"/>
        <c:crossBetween val="between"/>
        <c:dispUnits>
          <c:builtInUnit val="thousand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954717136"/>
        <c:axId val="1657366895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Graphs!$B$1576</c15:sqref>
                        </c15:formulaRef>
                      </c:ext>
                    </c:extLst>
                    <c:strCache>
                      <c:ptCount val="1"/>
                      <c:pt idx="0">
                        <c:v>Delta 2024/2025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4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CH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Graphs!$A$1577:$A$1594</c15:sqref>
                        </c15:formulaRef>
                      </c:ext>
                    </c:extLst>
                    <c:strCache>
                      <c:ptCount val="18"/>
                      <c:pt idx="0">
                        <c:v>Chad</c:v>
                      </c:pt>
                      <c:pt idx="1">
                        <c:v>Mali</c:v>
                      </c:pt>
                      <c:pt idx="2">
                        <c:v>Benin</c:v>
                      </c:pt>
                      <c:pt idx="3">
                        <c:v>Guinea Bissau</c:v>
                      </c:pt>
                      <c:pt idx="4">
                        <c:v>Senegal</c:v>
                      </c:pt>
                      <c:pt idx="5">
                        <c:v>Ghana</c:v>
                      </c:pt>
                      <c:pt idx="6">
                        <c:v>Burkina Faso</c:v>
                      </c:pt>
                      <c:pt idx="7">
                        <c:v>Mauritania</c:v>
                      </c:pt>
                      <c:pt idx="8">
                        <c:v>South Sudan</c:v>
                      </c:pt>
                      <c:pt idx="9">
                        <c:v>Togo</c:v>
                      </c:pt>
                      <c:pt idx="10">
                        <c:v>Kenya</c:v>
                      </c:pt>
                      <c:pt idx="11">
                        <c:v>Guinea</c:v>
                      </c:pt>
                      <c:pt idx="12">
                        <c:v>Gambia</c:v>
                      </c:pt>
                      <c:pt idx="13">
                        <c:v>Uganda</c:v>
                      </c:pt>
                      <c:pt idx="14">
                        <c:v>Cameroon</c:v>
                      </c:pt>
                      <c:pt idx="15">
                        <c:v>Côte d'Ivoire</c:v>
                      </c:pt>
                      <c:pt idx="16">
                        <c:v>Niger</c:v>
                      </c:pt>
                      <c:pt idx="17">
                        <c:v>Nigeria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Graphs!$B$1577:$B$1594</c15:sqref>
                        </c15:formulaRef>
                      </c:ext>
                    </c:extLst>
                    <c:numCache>
                      <c:formatCode>#,##0</c:formatCode>
                      <c:ptCount val="18"/>
                      <c:pt idx="0">
                        <c:v>-1407908.8316659748</c:v>
                      </c:pt>
                      <c:pt idx="1">
                        <c:v>-295036.08333333256</c:v>
                      </c:pt>
                      <c:pt idx="2">
                        <c:v>-133935</c:v>
                      </c:pt>
                      <c:pt idx="3">
                        <c:v>-110353.75</c:v>
                      </c:pt>
                      <c:pt idx="4">
                        <c:v>-90701.283333333326</c:v>
                      </c:pt>
                      <c:pt idx="5">
                        <c:v>-70977.699999999953</c:v>
                      </c:pt>
                      <c:pt idx="6">
                        <c:v>-31733.466666666791</c:v>
                      </c:pt>
                      <c:pt idx="7">
                        <c:v>-31623.666666666657</c:v>
                      </c:pt>
                      <c:pt idx="8">
                        <c:v>8235.6000000000058</c:v>
                      </c:pt>
                      <c:pt idx="9">
                        <c:v>30960.600000000093</c:v>
                      </c:pt>
                      <c:pt idx="10">
                        <c:v>35437.499999999993</c:v>
                      </c:pt>
                      <c:pt idx="11">
                        <c:v>48922.34999999986</c:v>
                      </c:pt>
                      <c:pt idx="12">
                        <c:v>52393.5</c:v>
                      </c:pt>
                      <c:pt idx="13">
                        <c:v>88638.79999999993</c:v>
                      </c:pt>
                      <c:pt idx="14">
                        <c:v>110981.34999999963</c:v>
                      </c:pt>
                      <c:pt idx="15">
                        <c:v>224455.25</c:v>
                      </c:pt>
                      <c:pt idx="16">
                        <c:v>432973.43192969169</c:v>
                      </c:pt>
                      <c:pt idx="17">
                        <c:v>913935.90000000224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9FE4-4F9C-A4C6-569C386C4303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1"/>
          <c:order val="1"/>
          <c:tx>
            <c:strRef>
              <c:f>Graphs!$C$1576</c:f>
              <c:strCache>
                <c:ptCount val="1"/>
                <c:pt idx="0">
                  <c:v>Share of 2024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5406051598701924E-2"/>
                  <c:y val="-0.1027966986975909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FE4-4F9C-A4C6-569C386C4303}"/>
                </c:ext>
              </c:extLst>
            </c:dLbl>
            <c:dLbl>
              <c:idx val="1"/>
              <c:layout>
                <c:manualLayout>
                  <c:x val="-2.1763439618518374E-2"/>
                  <c:y val="-4.535148471952547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FE4-4F9C-A4C6-569C386C4303}"/>
                </c:ext>
              </c:extLst>
            </c:dLbl>
            <c:dLbl>
              <c:idx val="2"/>
              <c:layout>
                <c:manualLayout>
                  <c:x val="-2.5406051598701924E-2"/>
                  <c:y val="-6.95389432366057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FE4-4F9C-A4C6-569C386C4303}"/>
                </c:ext>
              </c:extLst>
            </c:dLbl>
            <c:dLbl>
              <c:idx val="3"/>
              <c:layout>
                <c:manualLayout>
                  <c:x val="-2.6596447670657358E-2"/>
                  <c:y val="-0.1027966986975910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FE4-4F9C-A4C6-569C386C4303}"/>
                </c:ext>
              </c:extLst>
            </c:dLbl>
            <c:dLbl>
              <c:idx val="4"/>
              <c:layout>
                <c:manualLayout>
                  <c:x val="-2.7786843742612748E-2"/>
                  <c:y val="-5.1398349348795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FE4-4F9C-A4C6-569C386C4303}"/>
                </c:ext>
              </c:extLst>
            </c:dLbl>
            <c:dLbl>
              <c:idx val="5"/>
              <c:layout>
                <c:manualLayout>
                  <c:x val="-2.1763439618518364E-2"/>
                  <c:y val="-4.2328052404890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FE4-4F9C-A4C6-569C386C4303}"/>
                </c:ext>
              </c:extLst>
            </c:dLbl>
            <c:dLbl>
              <c:idx val="6"/>
              <c:layout>
                <c:manualLayout>
                  <c:x val="-2.2953835690473733E-2"/>
                  <c:y val="-3.32577554609853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FE4-4F9C-A4C6-569C386C4303}"/>
                </c:ext>
              </c:extLst>
            </c:dLbl>
            <c:dLbl>
              <c:idx val="7"/>
              <c:layout>
                <c:manualLayout>
                  <c:x val="-2.5406051598701924E-2"/>
                  <c:y val="-6.95389432366058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FE4-4F9C-A4C6-569C386C4303}"/>
                </c:ext>
              </c:extLst>
            </c:dLbl>
            <c:dLbl>
              <c:idx val="8"/>
              <c:layout>
                <c:manualLayout>
                  <c:x val="-2.7986211651671738E-2"/>
                  <c:y val="-2.418745851708024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FE4-4F9C-A4C6-569C386C4303}"/>
                </c:ext>
              </c:extLst>
            </c:dLbl>
            <c:dLbl>
              <c:idx val="9"/>
              <c:layout>
                <c:manualLayout>
                  <c:x val="-2.9105183959309913E-2"/>
                  <c:y val="-3.32577554609853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FE4-4F9C-A4C6-569C386C4303}"/>
                </c:ext>
              </c:extLst>
            </c:dLbl>
            <c:dLbl>
              <c:idx val="10"/>
              <c:layout>
                <c:manualLayout>
                  <c:x val="-3.1132512282118645E-2"/>
                  <c:y val="-1.20937292585401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FE4-4F9C-A4C6-569C386C4303}"/>
                </c:ext>
              </c:extLst>
            </c:dLbl>
            <c:dLbl>
              <c:idx val="11"/>
              <c:layout>
                <c:manualLayout>
                  <c:x val="-1.958201538366653E-2"/>
                  <c:y val="-4.232805240489043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FE4-4F9C-A4C6-569C386C4303}"/>
                </c:ext>
              </c:extLst>
            </c:dLbl>
            <c:dLbl>
              <c:idx val="12"/>
              <c:layout>
                <c:manualLayout>
                  <c:x val="-2.3224627363850177E-2"/>
                  <c:y val="-1.814059388781018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FE4-4F9C-A4C6-569C386C4303}"/>
                </c:ext>
              </c:extLst>
            </c:dLbl>
            <c:dLbl>
              <c:idx val="13"/>
              <c:layout>
                <c:manualLayout>
                  <c:x val="-2.3224627363850177E-2"/>
                  <c:y val="-3.325775546098545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9FE4-4F9C-A4C6-569C386C4303}"/>
                </c:ext>
              </c:extLst>
            </c:dLbl>
            <c:dLbl>
              <c:idx val="14"/>
              <c:layout>
                <c:manualLayout>
                  <c:x val="-2.5533995743443675E-2"/>
                  <c:y val="-3.32577554609853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9FE4-4F9C-A4C6-569C386C4303}"/>
                </c:ext>
              </c:extLst>
            </c:dLbl>
            <c:dLbl>
              <c:idx val="15"/>
              <c:layout>
                <c:manualLayout>
                  <c:x val="-2.8057635415989064E-2"/>
                  <c:y val="-1.814059388781018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9FE4-4F9C-A4C6-569C386C4303}"/>
                </c:ext>
              </c:extLst>
            </c:dLbl>
            <c:dLbl>
              <c:idx val="16"/>
              <c:layout>
                <c:manualLayout>
                  <c:x val="-3.8628352534953121E-2"/>
                  <c:y val="-0.1239607249000362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9FE4-4F9C-A4C6-569C386C4303}"/>
                </c:ext>
              </c:extLst>
            </c:dLbl>
            <c:dLbl>
              <c:idx val="17"/>
              <c:layout>
                <c:manualLayout>
                  <c:x val="-1.3630035023889469E-2"/>
                  <c:y val="-0.2600151790586127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9FE4-4F9C-A4C6-569C386C430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s!$A$1577:$A$1594</c:f>
              <c:strCache>
                <c:ptCount val="18"/>
                <c:pt idx="0">
                  <c:v>Chad</c:v>
                </c:pt>
                <c:pt idx="1">
                  <c:v>Mali</c:v>
                </c:pt>
                <c:pt idx="2">
                  <c:v>Benin</c:v>
                </c:pt>
                <c:pt idx="3">
                  <c:v>Guinea Bissau</c:v>
                </c:pt>
                <c:pt idx="4">
                  <c:v>Senegal</c:v>
                </c:pt>
                <c:pt idx="5">
                  <c:v>Ghana</c:v>
                </c:pt>
                <c:pt idx="6">
                  <c:v>Burkina Faso</c:v>
                </c:pt>
                <c:pt idx="7">
                  <c:v>Mauritania</c:v>
                </c:pt>
                <c:pt idx="8">
                  <c:v>South Sudan</c:v>
                </c:pt>
                <c:pt idx="9">
                  <c:v>Togo</c:v>
                </c:pt>
                <c:pt idx="10">
                  <c:v>Kenya</c:v>
                </c:pt>
                <c:pt idx="11">
                  <c:v>Guinea</c:v>
                </c:pt>
                <c:pt idx="12">
                  <c:v>Gambia</c:v>
                </c:pt>
                <c:pt idx="13">
                  <c:v>Uganda</c:v>
                </c:pt>
                <c:pt idx="14">
                  <c:v>Cameroon</c:v>
                </c:pt>
                <c:pt idx="15">
                  <c:v>Côte d'Ivoire</c:v>
                </c:pt>
                <c:pt idx="16">
                  <c:v>Niger</c:v>
                </c:pt>
                <c:pt idx="17">
                  <c:v>Nigeria</c:v>
                </c:pt>
              </c:strCache>
            </c:strRef>
          </c:cat>
          <c:val>
            <c:numRef>
              <c:f>Graphs!$C$1577:$C$1594</c:f>
              <c:numCache>
                <c:formatCode>0%</c:formatCode>
                <c:ptCount val="18"/>
                <c:pt idx="0">
                  <c:v>-0.46100181482626257</c:v>
                </c:pt>
                <c:pt idx="1">
                  <c:v>-6.7677989628113888E-2</c:v>
                </c:pt>
                <c:pt idx="2">
                  <c:v>-0.20828535132008918</c:v>
                </c:pt>
                <c:pt idx="3">
                  <c:v>-0.50562885308395633</c:v>
                </c:pt>
                <c:pt idx="4">
                  <c:v>-0.11334336386389349</c:v>
                </c:pt>
                <c:pt idx="5">
                  <c:v>-4.6053195045558944E-2</c:v>
                </c:pt>
                <c:pt idx="6">
                  <c:v>-6.1552943329445612E-3</c:v>
                </c:pt>
                <c:pt idx="7">
                  <c:v>-0.30414975538756472</c:v>
                </c:pt>
                <c:pt idx="8">
                  <c:v>0.10797190181893515</c:v>
                </c:pt>
                <c:pt idx="9">
                  <c:v>5.472948320530388E-2</c:v>
                </c:pt>
                <c:pt idx="10">
                  <c:v>0.93830922965308683</c:v>
                </c:pt>
                <c:pt idx="11">
                  <c:v>3.7285091344085732E-2</c:v>
                </c:pt>
                <c:pt idx="12">
                  <c:v>0.66361627074849749</c:v>
                </c:pt>
                <c:pt idx="13">
                  <c:v>0.32097667455841544</c:v>
                </c:pt>
                <c:pt idx="14">
                  <c:v>5.2795373510830898E-2</c:v>
                </c:pt>
                <c:pt idx="15">
                  <c:v>4.2747884795764355</c:v>
                </c:pt>
                <c:pt idx="16">
                  <c:v>8.4960949073543748E-2</c:v>
                </c:pt>
                <c:pt idx="17">
                  <c:v>3.205237568398468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FE4-4F9C-A4C6-569C386C430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794999903"/>
        <c:axId val="1794997983"/>
      </c:lineChart>
      <c:catAx>
        <c:axId val="9547171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657366895"/>
        <c:crosses val="autoZero"/>
        <c:auto val="1"/>
        <c:lblAlgn val="ctr"/>
        <c:lblOffset val="100"/>
        <c:noMultiLvlLbl val="0"/>
      </c:catAx>
      <c:valAx>
        <c:axId val="1657366895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954717136"/>
        <c:crosses val="autoZero"/>
        <c:crossBetween val="between"/>
      </c:valAx>
      <c:valAx>
        <c:axId val="1794997983"/>
        <c:scaling>
          <c:orientation val="minMax"/>
        </c:scaling>
        <c:delete val="1"/>
        <c:axPos val="r"/>
        <c:numFmt formatCode="0%" sourceLinked="1"/>
        <c:majorTickMark val="out"/>
        <c:minorTickMark val="none"/>
        <c:tickLblPos val="nextTo"/>
        <c:crossAx val="1794999903"/>
        <c:crosses val="max"/>
        <c:crossBetween val="between"/>
      </c:valAx>
      <c:catAx>
        <c:axId val="179499990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794997983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 b="0"/>
      </a:pPr>
      <a:endParaRPr lang="en-CH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/>
              <a:t>Number of treatments delivered per yea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9"/>
          <c:order val="19"/>
          <c:tx>
            <c:strRef>
              <c:f>Overview!$A$60</c:f>
              <c:strCache>
                <c:ptCount val="1"/>
                <c:pt idx="0">
                  <c:v>Grand Total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Overview!$B$40:$O$40</c:f>
              <c:strCach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*</c:v>
                </c:pt>
              </c:strCache>
            </c:strRef>
          </c:cat>
          <c:val>
            <c:numRef>
              <c:f>Overview!$B$60:$O$60</c:f>
              <c:numCache>
                <c:formatCode>#,##0</c:formatCode>
                <c:ptCount val="14"/>
                <c:pt idx="0">
                  <c:v>680000</c:v>
                </c:pt>
                <c:pt idx="1">
                  <c:v>5646472</c:v>
                </c:pt>
                <c:pt idx="2">
                  <c:v>9486374</c:v>
                </c:pt>
                <c:pt idx="3">
                  <c:v>22760427</c:v>
                </c:pt>
                <c:pt idx="4">
                  <c:v>53832339</c:v>
                </c:pt>
                <c:pt idx="5">
                  <c:v>65281452</c:v>
                </c:pt>
                <c:pt idx="6">
                  <c:v>77238217</c:v>
                </c:pt>
                <c:pt idx="7">
                  <c:v>86271405</c:v>
                </c:pt>
                <c:pt idx="8">
                  <c:v>132905410</c:v>
                </c:pt>
                <c:pt idx="9">
                  <c:v>179775402</c:v>
                </c:pt>
                <c:pt idx="10">
                  <c:v>203814970</c:v>
                </c:pt>
                <c:pt idx="11">
                  <c:v>220569255</c:v>
                </c:pt>
                <c:pt idx="12">
                  <c:v>228454770</c:v>
                </c:pt>
                <c:pt idx="13">
                  <c:v>231273070.467721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62C-440D-993D-03ECE36215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13032335"/>
        <c:axId val="1813025615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Overview!$A$41</c15:sqref>
                        </c15:formulaRef>
                      </c:ext>
                    </c:extLst>
                    <c:strCache>
                      <c:ptCount val="1"/>
                      <c:pt idx="0">
                        <c:v>Benin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Overview!$B$40:$O$40</c15:sqref>
                        </c15:formulaRef>
                      </c:ext>
                    </c:extLst>
                    <c:strCache>
                      <c:ptCount val="14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</c:v>
                      </c:pt>
                      <c:pt idx="13">
                        <c:v>2025*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Overview!$B$41:$O$41</c15:sqref>
                        </c15:formulaRef>
                      </c:ext>
                    </c:extLst>
                    <c:numCache>
                      <c:formatCode>General</c:formatCode>
                      <c:ptCount val="14"/>
                      <c:pt idx="7" formatCode="#,##0">
                        <c:v>456661</c:v>
                      </c:pt>
                      <c:pt idx="8" formatCode="#,##0">
                        <c:v>856491</c:v>
                      </c:pt>
                      <c:pt idx="9" formatCode="#,##0">
                        <c:v>1498240</c:v>
                      </c:pt>
                      <c:pt idx="10" formatCode="#,##0">
                        <c:v>1658092</c:v>
                      </c:pt>
                      <c:pt idx="11" formatCode="#,##0">
                        <c:v>1789602</c:v>
                      </c:pt>
                      <c:pt idx="12" formatCode="#,##0">
                        <c:v>2768339</c:v>
                      </c:pt>
                      <c:pt idx="13" formatCode="#,##0">
                        <c:v>2401919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762C-440D-993D-03ECE3621589}"/>
                  </c:ext>
                </c:extLst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42</c15:sqref>
                        </c15:formulaRef>
                      </c:ext>
                    </c:extLst>
                    <c:strCache>
                      <c:ptCount val="1"/>
                      <c:pt idx="0">
                        <c:v>Burkina Faso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O$40</c15:sqref>
                        </c15:formulaRef>
                      </c:ext>
                    </c:extLst>
                    <c:strCache>
                      <c:ptCount val="14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</c:v>
                      </c:pt>
                      <c:pt idx="13">
                        <c:v>2025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2:$O$42</c15:sqref>
                        </c15:formulaRef>
                      </c:ext>
                    </c:extLst>
                    <c:numCache>
                      <c:formatCode>General</c:formatCode>
                      <c:ptCount val="14"/>
                      <c:pt idx="2" formatCode="#,##0">
                        <c:v>1231081</c:v>
                      </c:pt>
                      <c:pt idx="3" formatCode="#,##0">
                        <c:v>3816187</c:v>
                      </c:pt>
                      <c:pt idx="4" formatCode="#,##0">
                        <c:v>10590851</c:v>
                      </c:pt>
                      <c:pt idx="5" formatCode="#,##0">
                        <c:v>11799603</c:v>
                      </c:pt>
                      <c:pt idx="6" formatCode="#,##0">
                        <c:v>13193588</c:v>
                      </c:pt>
                      <c:pt idx="7" formatCode="#,##0">
                        <c:v>13193588</c:v>
                      </c:pt>
                      <c:pt idx="8" formatCode="#,##0">
                        <c:v>16544168</c:v>
                      </c:pt>
                      <c:pt idx="9" formatCode="#,##0">
                        <c:v>18603883</c:v>
                      </c:pt>
                      <c:pt idx="10" formatCode="#,##0">
                        <c:v>19174212</c:v>
                      </c:pt>
                      <c:pt idx="11" formatCode="#,##0">
                        <c:v>20088248</c:v>
                      </c:pt>
                      <c:pt idx="12" formatCode="#,##0">
                        <c:v>21899633</c:v>
                      </c:pt>
                      <c:pt idx="13" formatCode="#,##0">
                        <c:v>2172306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762C-440D-993D-03ECE3621589}"/>
                  </c:ext>
                </c:extLst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43</c15:sqref>
                        </c15:formulaRef>
                      </c:ext>
                    </c:extLst>
                    <c:strCache>
                      <c:ptCount val="1"/>
                      <c:pt idx="0">
                        <c:v>Cameroon</c:v>
                      </c:pt>
                    </c:strCache>
                  </c:strRef>
                </c:tx>
                <c:spPr>
                  <a:ln w="28575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O$40</c15:sqref>
                        </c15:formulaRef>
                      </c:ext>
                    </c:extLst>
                    <c:strCache>
                      <c:ptCount val="14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</c:v>
                      </c:pt>
                      <c:pt idx="13">
                        <c:v>2025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3:$O$43</c15:sqref>
                        </c15:formulaRef>
                      </c:ext>
                    </c:extLst>
                    <c:numCache>
                      <c:formatCode>General</c:formatCode>
                      <c:ptCount val="14"/>
                      <c:pt idx="4" formatCode="#,##0">
                        <c:v>4286893</c:v>
                      </c:pt>
                      <c:pt idx="5" formatCode="#,##0">
                        <c:v>6324731</c:v>
                      </c:pt>
                      <c:pt idx="6" formatCode="#,##0">
                        <c:v>6546632</c:v>
                      </c:pt>
                      <c:pt idx="7" formatCode="#,##0">
                        <c:v>6726947</c:v>
                      </c:pt>
                      <c:pt idx="8" formatCode="#,##0">
                        <c:v>7122967</c:v>
                      </c:pt>
                      <c:pt idx="9" formatCode="#,##0">
                        <c:v>7635762</c:v>
                      </c:pt>
                      <c:pt idx="10" formatCode="#,##0">
                        <c:v>8611913</c:v>
                      </c:pt>
                      <c:pt idx="11" formatCode="#,##0">
                        <c:v>8810953</c:v>
                      </c:pt>
                      <c:pt idx="12" formatCode="#,##0">
                        <c:v>9067318</c:v>
                      </c:pt>
                      <c:pt idx="13" formatCode="#,##0">
                        <c:v>954632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762C-440D-993D-03ECE3621589}"/>
                  </c:ext>
                </c:extLst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44</c15:sqref>
                        </c15:formulaRef>
                      </c:ext>
                    </c:extLst>
                    <c:strCache>
                      <c:ptCount val="1"/>
                      <c:pt idx="0">
                        <c:v>Chad</c:v>
                      </c:pt>
                    </c:strCache>
                  </c:strRef>
                </c:tx>
                <c:spPr>
                  <a:ln w="28575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O$40</c15:sqref>
                        </c15:formulaRef>
                      </c:ext>
                    </c:extLst>
                    <c:strCache>
                      <c:ptCount val="14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</c:v>
                      </c:pt>
                      <c:pt idx="13">
                        <c:v>2025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4:$O$44</c15:sqref>
                        </c15:formulaRef>
                      </c:ext>
                    </c:extLst>
                    <c:numCache>
                      <c:formatCode>#,##0</c:formatCode>
                      <c:ptCount val="14"/>
                      <c:pt idx="0">
                        <c:v>40000</c:v>
                      </c:pt>
                      <c:pt idx="1">
                        <c:v>1055888</c:v>
                      </c:pt>
                      <c:pt idx="2">
                        <c:v>109226</c:v>
                      </c:pt>
                      <c:pt idx="3">
                        <c:v>1850623</c:v>
                      </c:pt>
                      <c:pt idx="4">
                        <c:v>3299222</c:v>
                      </c:pt>
                      <c:pt idx="5">
                        <c:v>3658346</c:v>
                      </c:pt>
                      <c:pt idx="6">
                        <c:v>4738823</c:v>
                      </c:pt>
                      <c:pt idx="7">
                        <c:v>5935118</c:v>
                      </c:pt>
                      <c:pt idx="8">
                        <c:v>9039408</c:v>
                      </c:pt>
                      <c:pt idx="9">
                        <c:v>10142392</c:v>
                      </c:pt>
                      <c:pt idx="10">
                        <c:v>10772891</c:v>
                      </c:pt>
                      <c:pt idx="11">
                        <c:v>11145353</c:v>
                      </c:pt>
                      <c:pt idx="12">
                        <c:v>12363136</c:v>
                      </c:pt>
                      <c:pt idx="13">
                        <c:v>6677508.07333610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762C-440D-993D-03ECE3621589}"/>
                  </c:ext>
                </c:extLst>
              </c15:ser>
            </c15:filteredLineSeries>
            <c15:filteredLine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45</c15:sqref>
                        </c15:formulaRef>
                      </c:ext>
                    </c:extLst>
                    <c:strCache>
                      <c:ptCount val="1"/>
                      <c:pt idx="0">
                        <c:v>Côte d'Ivoire</c:v>
                      </c:pt>
                    </c:strCache>
                  </c:strRef>
                </c:tx>
                <c:spPr>
                  <a:ln w="28575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O$40</c15:sqref>
                        </c15:formulaRef>
                      </c:ext>
                    </c:extLst>
                    <c:strCache>
                      <c:ptCount val="14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</c:v>
                      </c:pt>
                      <c:pt idx="13">
                        <c:v>2025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5:$O$45</c15:sqref>
                        </c15:formulaRef>
                      </c:ext>
                    </c:extLst>
                    <c:numCache>
                      <c:formatCode>General</c:formatCode>
                      <c:ptCount val="14"/>
                      <c:pt idx="11" formatCode="#,##0">
                        <c:v>79303</c:v>
                      </c:pt>
                      <c:pt idx="12" formatCode="#,##0">
                        <c:v>210027</c:v>
                      </c:pt>
                      <c:pt idx="13" formatCode="#,##0">
                        <c:v>110784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762C-440D-993D-03ECE3621589}"/>
                  </c:ext>
                </c:extLst>
              </c15:ser>
            </c15:filteredLineSeries>
            <c15:filteredLine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46</c15:sqref>
                        </c15:formulaRef>
                      </c:ext>
                    </c:extLst>
                    <c:strCache>
                      <c:ptCount val="1"/>
                      <c:pt idx="0">
                        <c:v>Gambia</c:v>
                      </c:pt>
                    </c:strCache>
                  </c:strRef>
                </c:tx>
                <c:spPr>
                  <a:ln w="28575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O$40</c15:sqref>
                        </c15:formulaRef>
                      </c:ext>
                    </c:extLst>
                    <c:strCache>
                      <c:ptCount val="14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</c:v>
                      </c:pt>
                      <c:pt idx="13">
                        <c:v>2025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6:$O$46</c15:sqref>
                        </c15:formulaRef>
                      </c:ext>
                    </c:extLst>
                    <c:numCache>
                      <c:formatCode>General</c:formatCode>
                      <c:ptCount val="14"/>
                      <c:pt idx="2" formatCode="#,##0">
                        <c:v>195812</c:v>
                      </c:pt>
                      <c:pt idx="3" formatCode="#,##0">
                        <c:v>305800</c:v>
                      </c:pt>
                      <c:pt idx="4" formatCode="#,##0">
                        <c:v>294839</c:v>
                      </c:pt>
                      <c:pt idx="5" formatCode="#,##0">
                        <c:v>306405</c:v>
                      </c:pt>
                      <c:pt idx="6" formatCode="#,##0">
                        <c:v>406044</c:v>
                      </c:pt>
                      <c:pt idx="7" formatCode="#,##0">
                        <c:v>443478</c:v>
                      </c:pt>
                      <c:pt idx="8" formatCode="#,##0">
                        <c:v>487334</c:v>
                      </c:pt>
                      <c:pt idx="9" formatCode="#,##0">
                        <c:v>304180</c:v>
                      </c:pt>
                      <c:pt idx="10" formatCode="#,##0">
                        <c:v>316821</c:v>
                      </c:pt>
                      <c:pt idx="11" formatCode="#,##0">
                        <c:v>336204</c:v>
                      </c:pt>
                      <c:pt idx="12" formatCode="#,##0">
                        <c:v>315806</c:v>
                      </c:pt>
                      <c:pt idx="13" formatCode="#,##0">
                        <c:v>525380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762C-440D-993D-03ECE3621589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47</c15:sqref>
                        </c15:formulaRef>
                      </c:ext>
                    </c:extLst>
                    <c:strCache>
                      <c:ptCount val="1"/>
                      <c:pt idx="0">
                        <c:v>Ghana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O$40</c15:sqref>
                        </c15:formulaRef>
                      </c:ext>
                    </c:extLst>
                    <c:strCache>
                      <c:ptCount val="14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</c:v>
                      </c:pt>
                      <c:pt idx="13">
                        <c:v>2025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7:$O$47</c15:sqref>
                        </c15:formulaRef>
                      </c:ext>
                    </c:extLst>
                    <c:numCache>
                      <c:formatCode>General</c:formatCode>
                      <c:ptCount val="14"/>
                      <c:pt idx="3" formatCode="#,##0">
                        <c:v>461236</c:v>
                      </c:pt>
                      <c:pt idx="4" formatCode="#,##0">
                        <c:v>606037</c:v>
                      </c:pt>
                      <c:pt idx="5" formatCode="#,##0">
                        <c:v>1309782</c:v>
                      </c:pt>
                      <c:pt idx="6" formatCode="#,##0">
                        <c:v>1319813</c:v>
                      </c:pt>
                      <c:pt idx="7" formatCode="#,##0">
                        <c:v>3859822</c:v>
                      </c:pt>
                      <c:pt idx="8" formatCode="#,##0">
                        <c:v>4135249</c:v>
                      </c:pt>
                      <c:pt idx="9" formatCode="#,##0">
                        <c:v>4803223</c:v>
                      </c:pt>
                      <c:pt idx="10" formatCode="#,##0">
                        <c:v>5530837</c:v>
                      </c:pt>
                      <c:pt idx="11" formatCode="#,##0">
                        <c:v>5741895</c:v>
                      </c:pt>
                      <c:pt idx="12" formatCode="#,##0">
                        <c:v>7706056</c:v>
                      </c:pt>
                      <c:pt idx="13" formatCode="#,##0">
                        <c:v>588093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762C-440D-993D-03ECE3621589}"/>
                  </c:ext>
                </c:extLst>
              </c15:ser>
            </c15:filteredLineSeries>
            <c15:filteredLine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48</c15:sqref>
                        </c15:formulaRef>
                      </c:ext>
                    </c:extLst>
                    <c:strCache>
                      <c:ptCount val="1"/>
                      <c:pt idx="0">
                        <c:v>Guinea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O$40</c15:sqref>
                        </c15:formulaRef>
                      </c:ext>
                    </c:extLst>
                    <c:strCache>
                      <c:ptCount val="14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</c:v>
                      </c:pt>
                      <c:pt idx="13">
                        <c:v>2025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8:$O$48</c15:sqref>
                        </c15:formulaRef>
                      </c:ext>
                    </c:extLst>
                    <c:numCache>
                      <c:formatCode>General</c:formatCode>
                      <c:ptCount val="14"/>
                      <c:pt idx="3" formatCode="#,##0">
                        <c:v>805131</c:v>
                      </c:pt>
                      <c:pt idx="4" formatCode="#,##0">
                        <c:v>1768708</c:v>
                      </c:pt>
                      <c:pt idx="5" formatCode="#,##0">
                        <c:v>2303709</c:v>
                      </c:pt>
                      <c:pt idx="6" formatCode="#,##0">
                        <c:v>3360479</c:v>
                      </c:pt>
                      <c:pt idx="7" formatCode="#,##0">
                        <c:v>3003612</c:v>
                      </c:pt>
                      <c:pt idx="8" formatCode="#,##0">
                        <c:v>4352774</c:v>
                      </c:pt>
                      <c:pt idx="9" formatCode="#,##0">
                        <c:v>4533292</c:v>
                      </c:pt>
                      <c:pt idx="10" formatCode="#,##0">
                        <c:v>4703712</c:v>
                      </c:pt>
                      <c:pt idx="11" formatCode="#,##0">
                        <c:v>4836861</c:v>
                      </c:pt>
                      <c:pt idx="12" formatCode="#,##0">
                        <c:v>5299045</c:v>
                      </c:pt>
                      <c:pt idx="13" formatCode="#,##0">
                        <c:v>549467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762C-440D-993D-03ECE3621589}"/>
                  </c:ext>
                </c:extLst>
              </c15:ser>
            </c15:filteredLineSeries>
            <c15:filteredLine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49</c15:sqref>
                        </c15:formulaRef>
                      </c:ext>
                    </c:extLst>
                    <c:strCache>
                      <c:ptCount val="1"/>
                      <c:pt idx="0">
                        <c:v>Guinea Bissau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O$40</c15:sqref>
                        </c15:formulaRef>
                      </c:ext>
                    </c:extLst>
                    <c:strCache>
                      <c:ptCount val="14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</c:v>
                      </c:pt>
                      <c:pt idx="13">
                        <c:v>2025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9:$O$49</c15:sqref>
                        </c15:formulaRef>
                      </c:ext>
                    </c:extLst>
                    <c:numCache>
                      <c:formatCode>General</c:formatCode>
                      <c:ptCount val="14"/>
                      <c:pt idx="4" formatCode="#,##0">
                        <c:v>146718</c:v>
                      </c:pt>
                      <c:pt idx="5" formatCode="#,##0">
                        <c:v>664647</c:v>
                      </c:pt>
                      <c:pt idx="6" formatCode="#,##0">
                        <c:v>170284</c:v>
                      </c:pt>
                      <c:pt idx="7" formatCode="#,##0">
                        <c:v>344429</c:v>
                      </c:pt>
                      <c:pt idx="8" formatCode="#,##0">
                        <c:v>344429</c:v>
                      </c:pt>
                      <c:pt idx="9" formatCode="#,##0">
                        <c:v>433574</c:v>
                      </c:pt>
                      <c:pt idx="10" formatCode="#,##0">
                        <c:v>452008</c:v>
                      </c:pt>
                      <c:pt idx="11" formatCode="#,##0">
                        <c:v>464123</c:v>
                      </c:pt>
                      <c:pt idx="12" formatCode="#,##0">
                        <c:v>873002</c:v>
                      </c:pt>
                      <c:pt idx="13" formatCode="#,##0">
                        <c:v>43158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762C-440D-993D-03ECE3621589}"/>
                  </c:ext>
                </c:extLst>
              </c15:ser>
            </c15:filteredLineSeries>
            <c15:filteredLine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50</c15:sqref>
                        </c15:formulaRef>
                      </c:ext>
                    </c:extLst>
                    <c:strCache>
                      <c:ptCount val="1"/>
                      <c:pt idx="0">
                        <c:v>Kenya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O$40</c15:sqref>
                        </c15:formulaRef>
                      </c:ext>
                    </c:extLst>
                    <c:strCache>
                      <c:ptCount val="14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</c:v>
                      </c:pt>
                      <c:pt idx="13">
                        <c:v>2025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50:$O$50</c15:sqref>
                        </c15:formulaRef>
                      </c:ext>
                    </c:extLst>
                    <c:numCache>
                      <c:formatCode>General</c:formatCode>
                      <c:ptCount val="14"/>
                      <c:pt idx="12" formatCode="#,##0">
                        <c:v>188837</c:v>
                      </c:pt>
                      <c:pt idx="13" formatCode="#,##0">
                        <c:v>33335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762C-440D-993D-03ECE3621589}"/>
                  </c:ext>
                </c:extLst>
              </c15:ser>
            </c15:filteredLineSeries>
            <c15:filteredLine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51</c15:sqref>
                        </c15:formulaRef>
                      </c:ext>
                    </c:extLst>
                    <c:strCache>
                      <c:ptCount val="1"/>
                      <c:pt idx="0">
                        <c:v>Mali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O$40</c15:sqref>
                        </c15:formulaRef>
                      </c:ext>
                    </c:extLst>
                    <c:strCache>
                      <c:ptCount val="14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</c:v>
                      </c:pt>
                      <c:pt idx="13">
                        <c:v>2025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51:$O$51</c15:sqref>
                        </c15:formulaRef>
                      </c:ext>
                    </c:extLst>
                    <c:numCache>
                      <c:formatCode>#,##0</c:formatCode>
                      <c:ptCount val="14"/>
                      <c:pt idx="0">
                        <c:v>640000</c:v>
                      </c:pt>
                      <c:pt idx="1">
                        <c:v>2149176</c:v>
                      </c:pt>
                      <c:pt idx="2">
                        <c:v>2098969</c:v>
                      </c:pt>
                      <c:pt idx="3">
                        <c:v>7999948</c:v>
                      </c:pt>
                      <c:pt idx="4">
                        <c:v>15398687</c:v>
                      </c:pt>
                      <c:pt idx="5">
                        <c:v>15960382</c:v>
                      </c:pt>
                      <c:pt idx="6">
                        <c:v>17113605</c:v>
                      </c:pt>
                      <c:pt idx="7">
                        <c:v>15068821</c:v>
                      </c:pt>
                      <c:pt idx="8">
                        <c:v>14956952</c:v>
                      </c:pt>
                      <c:pt idx="9">
                        <c:v>12906775</c:v>
                      </c:pt>
                      <c:pt idx="10">
                        <c:v>15016899</c:v>
                      </c:pt>
                      <c:pt idx="11">
                        <c:v>15034772</c:v>
                      </c:pt>
                      <c:pt idx="12">
                        <c:v>17111970</c:v>
                      </c:pt>
                      <c:pt idx="13">
                        <c:v>159993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762C-440D-993D-03ECE3621589}"/>
                  </c:ext>
                </c:extLst>
              </c15:ser>
            </c15:filteredLineSeries>
            <c15:filteredLine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52</c15:sqref>
                        </c15:formulaRef>
                      </c:ext>
                    </c:extLst>
                    <c:strCache>
                      <c:ptCount val="1"/>
                      <c:pt idx="0">
                        <c:v>Mauritania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O$40</c15:sqref>
                        </c15:formulaRef>
                      </c:ext>
                    </c:extLst>
                    <c:strCache>
                      <c:ptCount val="14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</c:v>
                      </c:pt>
                      <c:pt idx="13">
                        <c:v>2025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52:$O$52</c15:sqref>
                        </c15:formulaRef>
                      </c:ext>
                    </c:extLst>
                    <c:numCache>
                      <c:formatCode>General</c:formatCode>
                      <c:ptCount val="14"/>
                      <c:pt idx="10" formatCode="#,##0">
                        <c:v>230297</c:v>
                      </c:pt>
                      <c:pt idx="11" formatCode="#,##0">
                        <c:v>271747</c:v>
                      </c:pt>
                      <c:pt idx="12" formatCode="#,##0">
                        <c:v>415896</c:v>
                      </c:pt>
                      <c:pt idx="13" formatCode="#,##0">
                        <c:v>21705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762C-440D-993D-03ECE3621589}"/>
                  </c:ext>
                </c:extLst>
              </c15:ser>
            </c15:filteredLineSeries>
            <c15:filteredLine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53</c15:sqref>
                        </c15:formulaRef>
                      </c:ext>
                    </c:extLst>
                    <c:strCache>
                      <c:ptCount val="1"/>
                      <c:pt idx="0">
                        <c:v>Mozambique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O$40</c15:sqref>
                        </c15:formulaRef>
                      </c:ext>
                    </c:extLst>
                    <c:strCache>
                      <c:ptCount val="14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</c:v>
                      </c:pt>
                      <c:pt idx="13">
                        <c:v>2025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53:$O$53</c15:sqref>
                        </c15:formulaRef>
                      </c:ext>
                    </c:extLst>
                    <c:numCache>
                      <c:formatCode>General</c:formatCode>
                      <c:ptCount val="14"/>
                      <c:pt idx="9" formatCode="#,##0">
                        <c:v>477016</c:v>
                      </c:pt>
                      <c:pt idx="10" formatCode="#,##0">
                        <c:v>5198685</c:v>
                      </c:pt>
                      <c:pt idx="11" formatCode="#,##0">
                        <c:v>5278512</c:v>
                      </c:pt>
                      <c:pt idx="12" formatCode="#,##0">
                        <c:v>1708933</c:v>
                      </c:pt>
                      <c:pt idx="13" formatCode="#,##0">
                        <c:v>6400000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762C-440D-993D-03ECE3621589}"/>
                  </c:ext>
                </c:extLst>
              </c15:ser>
            </c15:filteredLineSeries>
            <c15:filteredLine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54</c15:sqref>
                        </c15:formulaRef>
                      </c:ext>
                    </c:extLst>
                    <c:strCache>
                      <c:ptCount val="1"/>
                      <c:pt idx="0">
                        <c:v>Niger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O$40</c15:sqref>
                        </c15:formulaRef>
                      </c:ext>
                    </c:extLst>
                    <c:strCache>
                      <c:ptCount val="14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</c:v>
                      </c:pt>
                      <c:pt idx="13">
                        <c:v>2025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54:$O$54</c15:sqref>
                        </c15:formulaRef>
                      </c:ext>
                    </c:extLst>
                    <c:numCache>
                      <c:formatCode>#,##0</c:formatCode>
                      <c:ptCount val="14"/>
                      <c:pt idx="1">
                        <c:v>903880</c:v>
                      </c:pt>
                      <c:pt idx="2">
                        <c:v>2072438</c:v>
                      </c:pt>
                      <c:pt idx="3">
                        <c:v>2484694</c:v>
                      </c:pt>
                      <c:pt idx="4">
                        <c:v>7977379</c:v>
                      </c:pt>
                      <c:pt idx="5">
                        <c:v>10183541</c:v>
                      </c:pt>
                      <c:pt idx="6">
                        <c:v>15243535</c:v>
                      </c:pt>
                      <c:pt idx="7">
                        <c:v>16604412</c:v>
                      </c:pt>
                      <c:pt idx="8">
                        <c:v>18066916</c:v>
                      </c:pt>
                      <c:pt idx="9">
                        <c:v>17830299</c:v>
                      </c:pt>
                      <c:pt idx="10">
                        <c:v>19099420</c:v>
                      </c:pt>
                      <c:pt idx="11">
                        <c:v>19342524</c:v>
                      </c:pt>
                      <c:pt idx="12">
                        <c:v>20694821</c:v>
                      </c:pt>
                      <c:pt idx="13">
                        <c:v>22348600.39438542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762C-440D-993D-03ECE3621589}"/>
                  </c:ext>
                </c:extLst>
              </c15:ser>
            </c15:filteredLineSeries>
            <c15:filteredLine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55</c15:sqref>
                        </c15:formulaRef>
                      </c:ext>
                    </c:extLst>
                    <c:strCache>
                      <c:ptCount val="1"/>
                      <c:pt idx="0">
                        <c:v>Nigeria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O$40</c15:sqref>
                        </c15:formulaRef>
                      </c:ext>
                    </c:extLst>
                    <c:strCache>
                      <c:ptCount val="14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</c:v>
                      </c:pt>
                      <c:pt idx="13">
                        <c:v>2025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55:$O$55</c15:sqref>
                        </c15:formulaRef>
                      </c:ext>
                    </c:extLst>
                    <c:numCache>
                      <c:formatCode>#,##0</c:formatCode>
                      <c:ptCount val="14"/>
                      <c:pt idx="1">
                        <c:v>837804</c:v>
                      </c:pt>
                      <c:pt idx="2">
                        <c:v>1481118</c:v>
                      </c:pt>
                      <c:pt idx="3">
                        <c:v>3149597</c:v>
                      </c:pt>
                      <c:pt idx="4">
                        <c:v>6316916</c:v>
                      </c:pt>
                      <c:pt idx="5">
                        <c:v>9298163</c:v>
                      </c:pt>
                      <c:pt idx="6">
                        <c:v>13842931</c:v>
                      </c:pt>
                      <c:pt idx="7">
                        <c:v>16764663</c:v>
                      </c:pt>
                      <c:pt idx="8">
                        <c:v>52944556</c:v>
                      </c:pt>
                      <c:pt idx="9">
                        <c:v>96002997</c:v>
                      </c:pt>
                      <c:pt idx="10">
                        <c:v>107414919</c:v>
                      </c:pt>
                      <c:pt idx="11">
                        <c:v>121007735</c:v>
                      </c:pt>
                      <c:pt idx="12">
                        <c:v>120424214</c:v>
                      </c:pt>
                      <c:pt idx="13">
                        <c:v>12439757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762C-440D-993D-03ECE3621589}"/>
                  </c:ext>
                </c:extLst>
              </c15:ser>
            </c15:filteredLineSeries>
            <c15:filteredLine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56</c15:sqref>
                        </c15:formulaRef>
                      </c:ext>
                    </c:extLst>
                    <c:strCache>
                      <c:ptCount val="1"/>
                      <c:pt idx="0">
                        <c:v>Senegal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O$40</c15:sqref>
                        </c15:formulaRef>
                      </c:ext>
                    </c:extLst>
                    <c:strCache>
                      <c:ptCount val="14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</c:v>
                      </c:pt>
                      <c:pt idx="13">
                        <c:v>2025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56:$O$56</c15:sqref>
                        </c15:formulaRef>
                      </c:ext>
                    </c:extLst>
                    <c:numCache>
                      <c:formatCode>#,##0</c:formatCode>
                      <c:ptCount val="14"/>
                      <c:pt idx="1">
                        <c:v>222836</c:v>
                      </c:pt>
                      <c:pt idx="2">
                        <c:v>1787236</c:v>
                      </c:pt>
                      <c:pt idx="3">
                        <c:v>1887211</c:v>
                      </c:pt>
                      <c:pt idx="4">
                        <c:v>1910656</c:v>
                      </c:pt>
                      <c:pt idx="5">
                        <c:v>1942868</c:v>
                      </c:pt>
                      <c:pt idx="7">
                        <c:v>2684527</c:v>
                      </c:pt>
                      <c:pt idx="8">
                        <c:v>2107303</c:v>
                      </c:pt>
                      <c:pt idx="9">
                        <c:v>2290288</c:v>
                      </c:pt>
                      <c:pt idx="10">
                        <c:v>2467495</c:v>
                      </c:pt>
                      <c:pt idx="11">
                        <c:v>2934346</c:v>
                      </c:pt>
                      <c:pt idx="12">
                        <c:v>2817081</c:v>
                      </c:pt>
                      <c:pt idx="13">
                        <c:v>255810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762C-440D-993D-03ECE3621589}"/>
                  </c:ext>
                </c:extLst>
              </c15:ser>
            </c15:filteredLineSeries>
            <c15:filteredLine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57</c15:sqref>
                        </c15:formulaRef>
                      </c:ext>
                    </c:extLst>
                    <c:strCache>
                      <c:ptCount val="1"/>
                      <c:pt idx="0">
                        <c:v>South Sudan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O$40</c15:sqref>
                        </c15:formulaRef>
                      </c:ext>
                    </c:extLst>
                    <c:strCache>
                      <c:ptCount val="14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</c:v>
                      </c:pt>
                      <c:pt idx="13">
                        <c:v>2025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57:$O$57</c15:sqref>
                        </c15:formulaRef>
                      </c:ext>
                    </c:extLst>
                    <c:numCache>
                      <c:formatCode>General</c:formatCode>
                      <c:ptCount val="14"/>
                      <c:pt idx="10" formatCode="#,##0">
                        <c:v>90000</c:v>
                      </c:pt>
                      <c:pt idx="11" formatCode="#,##0">
                        <c:v>278383</c:v>
                      </c:pt>
                      <c:pt idx="12" formatCode="#,##0">
                        <c:v>381377</c:v>
                      </c:pt>
                      <c:pt idx="13" formatCode="#,##0">
                        <c:v>42255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762C-440D-993D-03ECE3621589}"/>
                  </c:ext>
                </c:extLst>
              </c15:ser>
            </c15:filteredLineSeries>
            <c15:filteredLine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58</c15:sqref>
                        </c15:formulaRef>
                      </c:ext>
                    </c:extLst>
                    <c:strCache>
                      <c:ptCount val="1"/>
                      <c:pt idx="0">
                        <c:v>Togo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O$40</c15:sqref>
                        </c15:formulaRef>
                      </c:ext>
                    </c:extLst>
                    <c:strCache>
                      <c:ptCount val="14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</c:v>
                      </c:pt>
                      <c:pt idx="13">
                        <c:v>2025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58:$O$58</c15:sqref>
                        </c15:formulaRef>
                      </c:ext>
                    </c:extLst>
                    <c:numCache>
                      <c:formatCode>#,##0</c:formatCode>
                      <c:ptCount val="14"/>
                      <c:pt idx="1">
                        <c:v>476888</c:v>
                      </c:pt>
                      <c:pt idx="2">
                        <c:v>510494</c:v>
                      </c:pt>
                      <c:pt idx="4">
                        <c:v>1235433</c:v>
                      </c:pt>
                      <c:pt idx="5">
                        <c:v>1529275</c:v>
                      </c:pt>
                      <c:pt idx="6">
                        <c:v>1302483</c:v>
                      </c:pt>
                      <c:pt idx="7">
                        <c:v>1185327</c:v>
                      </c:pt>
                      <c:pt idx="8">
                        <c:v>1946863</c:v>
                      </c:pt>
                      <c:pt idx="9">
                        <c:v>1903986</c:v>
                      </c:pt>
                      <c:pt idx="10">
                        <c:v>2076563</c:v>
                      </c:pt>
                      <c:pt idx="11">
                        <c:v>1813614</c:v>
                      </c:pt>
                      <c:pt idx="12">
                        <c:v>2828512</c:v>
                      </c:pt>
                      <c:pt idx="13">
                        <c:v>298331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762C-440D-993D-03ECE3621589}"/>
                  </c:ext>
                </c:extLst>
              </c15:ser>
            </c15:filteredLineSeries>
            <c15:filteredLineSeries>
              <c15:ser>
                <c:idx val="18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59</c15:sqref>
                        </c15:formulaRef>
                      </c:ext>
                    </c:extLst>
                    <c:strCache>
                      <c:ptCount val="1"/>
                      <c:pt idx="0">
                        <c:v>Uganda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8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O$40</c15:sqref>
                        </c15:formulaRef>
                      </c:ext>
                    </c:extLst>
                    <c:strCache>
                      <c:ptCount val="14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</c:v>
                      </c:pt>
                      <c:pt idx="13">
                        <c:v>2025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59:$O$59</c15:sqref>
                        </c15:formulaRef>
                      </c:ext>
                    </c:extLst>
                    <c:numCache>
                      <c:formatCode>General</c:formatCode>
                      <c:ptCount val="14"/>
                      <c:pt idx="9" formatCode="#,##0">
                        <c:v>409495</c:v>
                      </c:pt>
                      <c:pt idx="10" formatCode="#,##0">
                        <c:v>1000206</c:v>
                      </c:pt>
                      <c:pt idx="11" formatCode="#,##0">
                        <c:v>1315080</c:v>
                      </c:pt>
                      <c:pt idx="12" formatCode="#,##0">
                        <c:v>1380767</c:v>
                      </c:pt>
                      <c:pt idx="13" formatCode="#,##0">
                        <c:v>182396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762C-440D-993D-03ECE3621589}"/>
                  </c:ext>
                </c:extLst>
              </c15:ser>
            </c15:filteredLineSeries>
          </c:ext>
        </c:extLst>
      </c:lineChart>
      <c:catAx>
        <c:axId val="18130323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813025615"/>
        <c:crosses val="autoZero"/>
        <c:auto val="1"/>
        <c:lblAlgn val="ctr"/>
        <c:lblOffset val="100"/>
        <c:noMultiLvlLbl val="0"/>
      </c:catAx>
      <c:valAx>
        <c:axId val="1813025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813032335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CH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/>
              <a:t>Number of treatments per age grou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Graphs!$A$5</c:f>
              <c:strCache>
                <c:ptCount val="1"/>
                <c:pt idx="0">
                  <c:v>3-11 month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Graphs!$D$4:$M$4</c:f>
              <c:strCach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*</c:v>
                </c:pt>
              </c:strCache>
              <c:extLst/>
            </c:strRef>
          </c:cat>
          <c:val>
            <c:numRef>
              <c:f>Graphs!$D$5:$M$5</c:f>
              <c:numCache>
                <c:formatCode>#,##0</c:formatCode>
                <c:ptCount val="6"/>
                <c:pt idx="0">
                  <c:v>23144622</c:v>
                </c:pt>
                <c:pt idx="1">
                  <c:v>36045489</c:v>
                </c:pt>
                <c:pt idx="2">
                  <c:v>36577894</c:v>
                </c:pt>
                <c:pt idx="3">
                  <c:v>39145883</c:v>
                </c:pt>
                <c:pt idx="4">
                  <c:v>40150034</c:v>
                </c:pt>
                <c:pt idx="5" formatCode="General">
                  <c:v>39133061.72772152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6B98-4020-9AF5-6C9DD3DAC431}"/>
            </c:ext>
          </c:extLst>
        </c:ser>
        <c:ser>
          <c:idx val="1"/>
          <c:order val="1"/>
          <c:tx>
            <c:strRef>
              <c:f>Graphs!$A$6</c:f>
              <c:strCache>
                <c:ptCount val="1"/>
                <c:pt idx="0">
                  <c:v>12-59 month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Graphs!$D$4:$M$4</c:f>
              <c:strCach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*</c:v>
                </c:pt>
              </c:strCache>
              <c:extLst/>
            </c:strRef>
          </c:cat>
          <c:val>
            <c:numRef>
              <c:f>Graphs!$D$6:$M$6</c:f>
              <c:numCache>
                <c:formatCode>#,##0</c:formatCode>
                <c:ptCount val="6"/>
                <c:pt idx="0">
                  <c:v>108235679</c:v>
                </c:pt>
                <c:pt idx="1">
                  <c:v>141832821</c:v>
                </c:pt>
                <c:pt idx="2">
                  <c:v>164817396</c:v>
                </c:pt>
                <c:pt idx="3">
                  <c:v>178073180</c:v>
                </c:pt>
                <c:pt idx="4">
                  <c:v>184797564</c:v>
                </c:pt>
                <c:pt idx="5" formatCode="General">
                  <c:v>184113479.7400000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6B98-4020-9AF5-6C9DD3DAC431}"/>
            </c:ext>
          </c:extLst>
        </c:ser>
        <c:ser>
          <c:idx val="2"/>
          <c:order val="2"/>
          <c:tx>
            <c:strRef>
              <c:f>Graphs!$A$7</c:f>
              <c:strCache>
                <c:ptCount val="1"/>
                <c:pt idx="0">
                  <c:v>60-120 month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Graphs!$D$4:$M$4</c:f>
              <c:strCach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*</c:v>
                </c:pt>
              </c:strCache>
              <c:extLst/>
            </c:strRef>
          </c:cat>
          <c:val>
            <c:numRef>
              <c:f>Graphs!$D$7:$M$7</c:f>
              <c:numCache>
                <c:formatCode>#,##0</c:formatCode>
                <c:ptCount val="6"/>
                <c:pt idx="0">
                  <c:v>1525108</c:v>
                </c:pt>
                <c:pt idx="1">
                  <c:v>1897093</c:v>
                </c:pt>
                <c:pt idx="2">
                  <c:v>2329680</c:v>
                </c:pt>
                <c:pt idx="3">
                  <c:v>2767187</c:v>
                </c:pt>
                <c:pt idx="4">
                  <c:v>3507172</c:v>
                </c:pt>
                <c:pt idx="5" formatCode="General">
                  <c:v>1626529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6B98-4020-9AF5-6C9DD3DAC4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1026801296"/>
        <c:axId val="1026772496"/>
      </c:barChart>
      <c:lineChart>
        <c:grouping val="standard"/>
        <c:varyColors val="0"/>
        <c:ser>
          <c:idx val="3"/>
          <c:order val="3"/>
          <c:tx>
            <c:strRef>
              <c:f>Graphs!$A$8</c:f>
              <c:strCache>
                <c:ptCount val="1"/>
                <c:pt idx="0">
                  <c:v>Share of 5-10 years old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Graphs!$D$4:$M$4</c:f>
              <c:strCach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*</c:v>
                </c:pt>
              </c:strCache>
              <c:extLst/>
            </c:strRef>
          </c:cat>
          <c:val>
            <c:numRef>
              <c:f>Graphs!$D$8:$M$8</c:f>
              <c:numCache>
                <c:formatCode>0.0%</c:formatCode>
                <c:ptCount val="6"/>
                <c:pt idx="0">
                  <c:v>1.1475138683031329E-2</c:v>
                </c:pt>
                <c:pt idx="1">
                  <c:v>1.0552572645324566E-2</c:v>
                </c:pt>
                <c:pt idx="2">
                  <c:v>1.1435417072340224E-2</c:v>
                </c:pt>
                <c:pt idx="3">
                  <c:v>1.2578908909079544E-2</c:v>
                </c:pt>
                <c:pt idx="4">
                  <c:v>1.5351712726330905E-2</c:v>
                </c:pt>
                <c:pt idx="5">
                  <c:v>7.233098194536697E-3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3-6B98-4020-9AF5-6C9DD3DAC4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7735856"/>
        <c:axId val="817715696"/>
      </c:lineChart>
      <c:catAx>
        <c:axId val="1026801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026772496"/>
        <c:crosses val="autoZero"/>
        <c:auto val="1"/>
        <c:lblAlgn val="ctr"/>
        <c:lblOffset val="100"/>
        <c:noMultiLvlLbl val="0"/>
      </c:catAx>
      <c:valAx>
        <c:axId val="1026772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026801296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</c:dispUnitsLbl>
        </c:dispUnits>
      </c:valAx>
      <c:valAx>
        <c:axId val="817715696"/>
        <c:scaling>
          <c:orientation val="minMax"/>
          <c:max val="3.0000000000000006E-2"/>
          <c:min val="0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817735856"/>
        <c:crosses val="max"/>
        <c:crossBetween val="between"/>
      </c:valAx>
      <c:catAx>
        <c:axId val="8177358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177156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/>
              <a:t>Number of treatments per cycl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Graphs!$A$47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Graphs!$H$46:$M$46</c:f>
              <c:strCach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*</c:v>
                </c:pt>
              </c:strCache>
            </c:strRef>
          </c:cat>
          <c:val>
            <c:numRef>
              <c:f>Graphs!$H$47:$M$47</c:f>
              <c:numCache>
                <c:formatCode>General</c:formatCode>
                <c:ptCount val="6"/>
                <c:pt idx="0">
                  <c:v>32243201</c:v>
                </c:pt>
                <c:pt idx="1">
                  <c:v>39711578</c:v>
                </c:pt>
                <c:pt idx="2">
                  <c:v>46245370</c:v>
                </c:pt>
                <c:pt idx="3">
                  <c:v>48627424</c:v>
                </c:pt>
                <c:pt idx="4">
                  <c:v>49935650</c:v>
                </c:pt>
                <c:pt idx="5">
                  <c:v>49309462.073336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35-4144-8665-6732F76FBFE9}"/>
            </c:ext>
          </c:extLst>
        </c:ser>
        <c:ser>
          <c:idx val="1"/>
          <c:order val="1"/>
          <c:tx>
            <c:strRef>
              <c:f>Graphs!$A$48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Graphs!$H$46:$M$46</c:f>
              <c:strCach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*</c:v>
                </c:pt>
              </c:strCache>
            </c:strRef>
          </c:cat>
          <c:val>
            <c:numRef>
              <c:f>Graphs!$H$48:$M$48</c:f>
              <c:numCache>
                <c:formatCode>General</c:formatCode>
                <c:ptCount val="6"/>
                <c:pt idx="0">
                  <c:v>33807051</c:v>
                </c:pt>
                <c:pt idx="1">
                  <c:v>45392187</c:v>
                </c:pt>
                <c:pt idx="2">
                  <c:v>50180397</c:v>
                </c:pt>
                <c:pt idx="3">
                  <c:v>53076101</c:v>
                </c:pt>
                <c:pt idx="4">
                  <c:v>54280715</c:v>
                </c:pt>
                <c:pt idx="5">
                  <c:v>540008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135-4144-8665-6732F76FBFE9}"/>
            </c:ext>
          </c:extLst>
        </c:ser>
        <c:ser>
          <c:idx val="2"/>
          <c:order val="2"/>
          <c:tx>
            <c:strRef>
              <c:f>Graphs!$A$49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Graphs!$H$46:$M$46</c:f>
              <c:strCach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*</c:v>
                </c:pt>
              </c:strCache>
            </c:strRef>
          </c:cat>
          <c:val>
            <c:numRef>
              <c:f>Graphs!$H$49:$M$49</c:f>
              <c:numCache>
                <c:formatCode>General</c:formatCode>
                <c:ptCount val="6"/>
                <c:pt idx="0">
                  <c:v>33774717</c:v>
                </c:pt>
                <c:pt idx="1">
                  <c:v>47138470</c:v>
                </c:pt>
                <c:pt idx="2">
                  <c:v>49056615</c:v>
                </c:pt>
                <c:pt idx="3">
                  <c:v>53881575</c:v>
                </c:pt>
                <c:pt idx="4">
                  <c:v>54451253</c:v>
                </c:pt>
                <c:pt idx="5">
                  <c:v>540216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135-4144-8665-6732F76FBFE9}"/>
            </c:ext>
          </c:extLst>
        </c:ser>
        <c:ser>
          <c:idx val="3"/>
          <c:order val="3"/>
          <c:tx>
            <c:strRef>
              <c:f>Graphs!$A$50</c:f>
              <c:strCache>
                <c:ptCount val="1"/>
                <c:pt idx="0">
                  <c:v>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Graphs!$H$46:$M$46</c:f>
              <c:strCach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*</c:v>
                </c:pt>
              </c:strCache>
            </c:strRef>
          </c:cat>
          <c:val>
            <c:numRef>
              <c:f>Graphs!$H$50:$M$50</c:f>
              <c:numCache>
                <c:formatCode>General</c:formatCode>
                <c:ptCount val="6"/>
                <c:pt idx="0">
                  <c:v>33080441</c:v>
                </c:pt>
                <c:pt idx="1">
                  <c:v>41492522</c:v>
                </c:pt>
                <c:pt idx="2">
                  <c:v>47177641</c:v>
                </c:pt>
                <c:pt idx="3">
                  <c:v>52294569</c:v>
                </c:pt>
                <c:pt idx="4">
                  <c:v>53297255</c:v>
                </c:pt>
                <c:pt idx="5">
                  <c:v>52579152.3943854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135-4144-8665-6732F76FBFE9}"/>
            </c:ext>
          </c:extLst>
        </c:ser>
        <c:ser>
          <c:idx val="4"/>
          <c:order val="4"/>
          <c:tx>
            <c:strRef>
              <c:f>Graphs!$A$51</c:f>
              <c:strCache>
                <c:ptCount val="1"/>
                <c:pt idx="0">
                  <c:v>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Graphs!$H$46:$M$46</c:f>
              <c:strCach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*</c:v>
                </c:pt>
              </c:strCache>
            </c:strRef>
          </c:cat>
          <c:val>
            <c:numRef>
              <c:f>Graphs!$H$51:$M$51</c:f>
              <c:numCache>
                <c:formatCode>General</c:formatCode>
                <c:ptCount val="6"/>
                <c:pt idx="1">
                  <c:v>6040645</c:v>
                </c:pt>
                <c:pt idx="2">
                  <c:v>11154947</c:v>
                </c:pt>
                <c:pt idx="3">
                  <c:v>12689586</c:v>
                </c:pt>
                <c:pt idx="4">
                  <c:v>16489897</c:v>
                </c:pt>
                <c:pt idx="5">
                  <c:v>149619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135-4144-8665-6732F76FBF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64819056"/>
        <c:axId val="764808496"/>
      </c:barChart>
      <c:lineChart>
        <c:grouping val="standard"/>
        <c:varyColors val="0"/>
        <c:ser>
          <c:idx val="5"/>
          <c:order val="5"/>
          <c:tx>
            <c:strRef>
              <c:f>Graphs!$A$52</c:f>
              <c:strCache>
                <c:ptCount val="1"/>
                <c:pt idx="0">
                  <c:v>Share of 5th cycle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Graphs!$H$46:$M$46</c:f>
              <c:strCach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*</c:v>
                </c:pt>
              </c:strCache>
            </c:strRef>
          </c:cat>
          <c:val>
            <c:numRef>
              <c:f>Graphs!$H$52:$M$52</c:f>
              <c:numCache>
                <c:formatCode>0%</c:formatCode>
                <c:ptCount val="6"/>
                <c:pt idx="1">
                  <c:v>3.3601065177982468E-2</c:v>
                </c:pt>
                <c:pt idx="2">
                  <c:v>5.4730754075620648E-2</c:v>
                </c:pt>
                <c:pt idx="3">
                  <c:v>5.7531073403679946E-2</c:v>
                </c:pt>
                <c:pt idx="4">
                  <c:v>7.2180138764447774E-2</c:v>
                </c:pt>
                <c:pt idx="5">
                  <c:v>6.653504116291082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135-4144-8665-6732F76FBF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64821936"/>
        <c:axId val="764816176"/>
      </c:lineChart>
      <c:catAx>
        <c:axId val="764819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764808496"/>
        <c:crosses val="autoZero"/>
        <c:auto val="1"/>
        <c:lblAlgn val="ctr"/>
        <c:lblOffset val="100"/>
        <c:noMultiLvlLbl val="0"/>
      </c:catAx>
      <c:valAx>
        <c:axId val="764808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764819056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</c:dispUnitsLbl>
        </c:dispUnits>
      </c:valAx>
      <c:valAx>
        <c:axId val="764816176"/>
        <c:scaling>
          <c:orientation val="minMax"/>
        </c:scaling>
        <c:delete val="0"/>
        <c:axPos val="r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764821936"/>
        <c:crosses val="max"/>
        <c:crossBetween val="between"/>
      </c:valAx>
      <c:catAx>
        <c:axId val="7648219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6481617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</a:defRPr>
            </a:lvl1pPr>
          </a:lstStyle>
          <a:p>
            <a:fld id="{FA599DB5-F951-465E-9D7E-371F7B638051}" type="datetimeFigureOut">
              <a:rPr lang="en-US" smtClean="0"/>
              <a:pPr/>
              <a:t>2/16/20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</a:defRPr>
            </a:lvl1pPr>
          </a:lstStyle>
          <a:p>
            <a:fld id="{3DAE7F38-D7FC-49C1-9028-C8337DBBF6A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4351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>
            <a:extLst>
              <a:ext uri="{FF2B5EF4-FFF2-40B4-BE49-F238E27FC236}">
                <a16:creationId xmlns:a16="http://schemas.microsoft.com/office/drawing/2014/main" id="{F1190DB5-E6A4-45B2-8018-1E4C6E6A002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Notes Placeholder 2">
            <a:extLst>
              <a:ext uri="{FF2B5EF4-FFF2-40B4-BE49-F238E27FC236}">
                <a16:creationId xmlns:a16="http://schemas.microsoft.com/office/drawing/2014/main" id="{803D9380-D290-433F-8CB2-8B4E67FD7E4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fr-FR"/>
          </a:p>
        </p:txBody>
      </p:sp>
      <p:sp>
        <p:nvSpPr>
          <p:cNvPr id="10244" name="Slide Number Placeholder 3">
            <a:extLst>
              <a:ext uri="{FF2B5EF4-FFF2-40B4-BE49-F238E27FC236}">
                <a16:creationId xmlns:a16="http://schemas.microsoft.com/office/drawing/2014/main" id="{13AC7C7C-5EDE-41D7-92F7-1D54B979E6E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B7CA4D-BD4E-476E-BE56-94205F743E67}" type="slidenum">
              <a:rPr kumimoji="0" lang="fr-F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457202" y="618564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1544F-94DE-44FB-B7D0-E6858DE7701D}" type="slidenum">
              <a:rPr lang="en-US" sz="11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6042535"/>
      </p:ext>
    </p:extLst>
  </p:cSld>
  <p:clrMapOvr>
    <a:masterClrMapping/>
  </p:clrMapOvr>
  <p:transition spd="slow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035D6-95BB-49EA-A73A-D468B4973E0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13218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C17381-96F6-4A03-B496-F7A64C84E1D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1261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B719B-E54D-4F5C-8928-5D8158DE655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99754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32D1CE-B6ED-4ADD-8BCF-C37162A929F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9942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4C3C81-C750-4079-B713-1D2CE4C68C13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0357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3F05A-8047-4243-89AD-2D4C57653CDA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1732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5B0B2E-9FE5-4C87-A44A-58EAFFAB165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70957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1D385-62A9-4CFF-B56C-1046281EB14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3293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28EE3-F15F-42BF-AB1D-F2C9AAEFD72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5622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2F2079-A98F-4C19-8926-5593C135B8F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2871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6806804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 i="0" baseline="0" dirty="0"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65200" y="195630"/>
            <a:ext cx="10261600" cy="685799"/>
          </a:xfrm>
        </p:spPr>
        <p:txBody>
          <a:bodyPr/>
          <a:lstStyle>
            <a:lvl1pPr algn="ctr">
              <a:defRPr sz="2400">
                <a:solidFill>
                  <a:srgbClr val="660066"/>
                </a:solidFill>
              </a:defRPr>
            </a:lvl1pPr>
          </a:lstStyle>
          <a:p>
            <a:r>
              <a:rPr lang="en-GB" noProof="0" dirty="0" err="1"/>
              <a:t>Cliquez</a:t>
            </a:r>
            <a:r>
              <a:rPr lang="en-GB" noProof="0" dirty="0"/>
              <a:t> et </a:t>
            </a:r>
            <a:r>
              <a:rPr lang="en-GB" noProof="0" dirty="0" err="1"/>
              <a:t>modifiez</a:t>
            </a:r>
            <a:r>
              <a:rPr lang="en-GB" noProof="0" dirty="0"/>
              <a:t>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429680" y="1351240"/>
            <a:ext cx="10261600" cy="4343400"/>
          </a:xfrm>
        </p:spPr>
        <p:txBody>
          <a:bodyPr/>
          <a:lstStyle>
            <a:lvl1pPr marL="342900" indent="-342900" algn="l">
              <a:buClr>
                <a:srgbClr val="660066"/>
              </a:buClr>
              <a:buSzPct val="65000"/>
              <a:buFont typeface="Wingdings" panose="05000000000000000000" pitchFamily="2" charset="2"/>
              <a:buChar char="l"/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1544F-94DE-44FB-B7D0-E6858DE7701D}" type="slidenum">
              <a:rPr lang="en-US" sz="11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0984951"/>
      </p:ext>
    </p:extLst>
  </p:cSld>
  <p:clrMapOvr>
    <a:masterClrMapping/>
  </p:clrMapOvr>
  <p:transition spd="slow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13529-3FE1-4D24-BC01-867ECBCD369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5580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FAA38F-569C-40FD-A208-222B1CA3F0F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1528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B358C-538C-4143-8B3E-6DF8394AEC7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189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04FDF7-9D13-4E81-B3F6-5B7A3BA80F6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296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EB238-F5F9-412D-AB29-85B2D05B603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9037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3D6030-1CF0-49FB-8265-2F14BA6A9081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3585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0E1E4-1C7B-4E02-804A-3C7AE9A778F0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5869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F5B42-B961-4709-A9EA-CA774A09516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54628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70956-3165-49A6-8562-BCFC76D3C73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8605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-7020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F125DD-AD8A-442B-AC52-74205DAFE4F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0756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BBED6D-2CE0-47C4-A54B-9CE08FF7867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6240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43196-4D66-412D-A0D0-164B33D39A0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7047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F16D5B-A693-49C5-AD9B-5B5EAB88B0C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0524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4A2F2-7D83-4A4D-ACFA-4DF6CB35EE3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1250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EF3117-AB47-4851-AD43-B9812DA1DAD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9161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indent="0">
              <a:tabLst>
                <a:tab pos="4613275" algn="l"/>
                <a:tab pos="4708525" algn="l"/>
              </a:tabLst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AF8C71-5243-4C45-82D2-D0E8EEF539C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72938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E6E3C2-2BF0-4B07-B891-37E1D26476D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595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58DB25-228E-4E0B-9880-20EA68732DEA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6886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224F5-A906-4F8D-B729-717FC74555E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55043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DCB705-A920-42C6-8860-D661C21F016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81074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E3330-79E9-40E1-9A03-C2C867BC33E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269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34610"/>
            <a:ext cx="10515600" cy="1325563"/>
          </a:xfrm>
        </p:spPr>
        <p:txBody>
          <a:bodyPr/>
          <a:lstStyle>
            <a:lvl1pPr>
              <a:defRPr>
                <a:solidFill>
                  <a:srgbClr val="66006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3BDCF-00BA-4D8C-A7F5-4F71EE539E0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99038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2487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A2C82-B936-4F6C-8E9E-86AF023CC14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6519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56497-C19B-4BC4-9BB0-8518614F9C4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2636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E5284-2D3E-4862-B700-3D493BF22A4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4196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E73D-2E19-4501-BF8F-6D9FBBA7141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3580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A0AD2-A050-42E6-8DA5-EC94044FABD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1207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842B3-4DF2-443A-A232-93818335A0B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8587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0D2DD-895A-4D49-A633-CA29E391843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64296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5">
            <a:extLst>
              <a:ext uri="{FF2B5EF4-FFF2-40B4-BE49-F238E27FC236}">
                <a16:creationId xmlns:a16="http://schemas.microsoft.com/office/drawing/2014/main" id="{60DD8F63-BA5D-41C4-B958-DC1C27DDE96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21784" y="-698499"/>
            <a:ext cx="12913784" cy="8386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1">
            <a:extLst>
              <a:ext uri="{FF2B5EF4-FFF2-40B4-BE49-F238E27FC236}">
                <a16:creationId xmlns:a16="http://schemas.microsoft.com/office/drawing/2014/main" id="{4EFBF6D0-3DDE-4A78-BBBB-37B1773D0CA0}"/>
              </a:ext>
            </a:extLst>
          </p:cNvPr>
          <p:cNvSpPr>
            <a:spLocks/>
          </p:cNvSpPr>
          <p:nvPr userDrawn="1"/>
        </p:nvSpPr>
        <p:spPr bwMode="auto">
          <a:xfrm>
            <a:off x="-143933" y="4379384"/>
            <a:ext cx="12335933" cy="2794000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defTabSz="456221">
              <a:defRPr/>
            </a:pPr>
            <a:endParaRPr lang="en-US" sz="1013">
              <a:solidFill>
                <a:srgbClr val="000000"/>
              </a:solidFill>
              <a:ea typeface="ＭＳ Ｐゴシック" charset="0"/>
            </a:endParaRPr>
          </a:p>
        </p:txBody>
      </p:sp>
      <p:pic>
        <p:nvPicPr>
          <p:cNvPr id="4" name="Image 6">
            <a:extLst>
              <a:ext uri="{FF2B5EF4-FFF2-40B4-BE49-F238E27FC236}">
                <a16:creationId xmlns:a16="http://schemas.microsoft.com/office/drawing/2014/main" id="{7449D75B-9E83-408C-8A38-61616DCE99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4317" y="6096000"/>
            <a:ext cx="2106083" cy="662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Image 8">
            <a:extLst>
              <a:ext uri="{FF2B5EF4-FFF2-40B4-BE49-F238E27FC236}">
                <a16:creationId xmlns:a16="http://schemas.microsoft.com/office/drawing/2014/main" id="{9A1DE91A-F478-45C1-B216-9408FAD1F8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990851"/>
            <a:ext cx="12192000" cy="3570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9">
            <a:extLst>
              <a:ext uri="{FF2B5EF4-FFF2-40B4-BE49-F238E27FC236}">
                <a16:creationId xmlns:a16="http://schemas.microsoft.com/office/drawing/2014/main" id="{E383E34F-C6E8-4486-A899-A0A542259B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5651" y="-1754717"/>
            <a:ext cx="6309783" cy="6345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6475986"/>
      </p:ext>
    </p:extLst>
  </p:cSld>
  <p:clrMapOvr>
    <a:masterClrMapping/>
  </p:clrMapOvr>
  <p:transition spd="slow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 i="0" baseline="0" dirty="0"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65200" y="195630"/>
            <a:ext cx="10261600" cy="685799"/>
          </a:xfrm>
        </p:spPr>
        <p:txBody>
          <a:bodyPr/>
          <a:lstStyle>
            <a:lvl1pPr algn="ctr">
              <a:defRPr sz="2400">
                <a:solidFill>
                  <a:srgbClr val="660066"/>
                </a:solidFill>
              </a:defRPr>
            </a:lvl1pPr>
          </a:lstStyle>
          <a:p>
            <a:r>
              <a:rPr lang="en-GB" noProof="0" dirty="0" err="1"/>
              <a:t>Cliquez</a:t>
            </a:r>
            <a:r>
              <a:rPr lang="en-GB" noProof="0" dirty="0"/>
              <a:t> et </a:t>
            </a:r>
            <a:r>
              <a:rPr lang="en-GB" noProof="0" dirty="0" err="1"/>
              <a:t>modifiez</a:t>
            </a:r>
            <a:r>
              <a:rPr lang="en-GB" noProof="0" dirty="0"/>
              <a:t>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429680" y="1351240"/>
            <a:ext cx="10261600" cy="4343400"/>
          </a:xfrm>
        </p:spPr>
        <p:txBody>
          <a:bodyPr/>
          <a:lstStyle>
            <a:lvl1pPr marL="342900" indent="-342900" algn="l">
              <a:buClr>
                <a:srgbClr val="660066"/>
              </a:buClr>
              <a:buSzPct val="65000"/>
              <a:buFont typeface="Wingdings" panose="05000000000000000000" pitchFamily="2" charset="2"/>
              <a:buChar char="l"/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1544F-94DE-44FB-B7D0-E6858DE7701D}" type="slidenum">
              <a:rPr lang="en-US" sz="11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0984951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16D82C-C62D-49BA-90E7-FECB546895A3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983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7D792-F589-4ACE-92F6-205EBEA779DC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2502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FBAEB-106B-4A6E-B878-49685DFB7D5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7363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74748-07EA-4095-9F4E-870F960F2E8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1474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9306A-5625-414C-BC6B-7B060C8797F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8213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jpe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83852078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6350000" imgH="6350000" progId="TCLayout.ActiveDocument.1">
                  <p:embed/>
                </p:oleObj>
              </mc:Choice>
              <mc:Fallback>
                <p:oleObj name="think-cell Slide" r:id="rId6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5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latin typeface="Arial"/>
              <a:ea typeface="ＭＳ Ｐゴシック"/>
              <a:cs typeface="Arial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31" y="6311540"/>
            <a:ext cx="1753772" cy="546465"/>
          </a:xfrm>
          <a:prstGeom prst="rect">
            <a:avLst/>
          </a:prstGeom>
        </p:spPr>
      </p:pic>
      <p:sp>
        <p:nvSpPr>
          <p:cNvPr id="1029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348905" y="215904"/>
            <a:ext cx="11482917" cy="70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30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23333" y="1352550"/>
            <a:ext cx="11277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7A31544F-94DE-44FB-B7D0-E6858DE770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604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ransition spd="slow"/>
  <p:hf sldNum="0"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660066"/>
          </a:solidFill>
          <a:latin typeface="Arial"/>
          <a:ea typeface="ＭＳ Ｐゴシック" charset="-128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80000"/>
        <a:buFont typeface="Arial" panose="020B0604020202020204" pitchFamily="34" charset="0"/>
        <a:buChar char="●"/>
        <a:defRPr sz="2400" kern="1200">
          <a:solidFill>
            <a:schemeClr val="tx1"/>
          </a:solidFill>
          <a:latin typeface="Arial"/>
          <a:ea typeface="ＭＳ Ｐゴシック" charset="-128"/>
          <a:cs typeface="ＭＳ Ｐゴシック" pitchFamily="-11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—"/>
        <a:defRPr sz="2400" kern="1200">
          <a:solidFill>
            <a:schemeClr val="tx1"/>
          </a:solidFill>
          <a:latin typeface="Arial"/>
          <a:ea typeface="ＭＳ Ｐゴシック" pitchFamily="34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Arial"/>
          <a:ea typeface="Arial" charset="0"/>
          <a:cs typeface="Arial"/>
        </a:defRPr>
      </a:lvl3pPr>
      <a:lvl4pPr marL="16573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■"/>
        <a:defRPr sz="2400" b="0" kern="1200">
          <a:solidFill>
            <a:schemeClr val="tx1"/>
          </a:solidFill>
          <a:latin typeface="Arial"/>
          <a:ea typeface="Arial" charset="0"/>
          <a:cs typeface="Arial"/>
        </a:defRPr>
      </a:lvl4pPr>
      <a:lvl5pPr marL="21145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□"/>
        <a:defRPr sz="2400" kern="1200">
          <a:solidFill>
            <a:srgbClr val="000000"/>
          </a:solidFill>
          <a:latin typeface="Arial"/>
          <a:ea typeface="Arial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51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17924D-B118-4D6C-8942-967B8487397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171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567" y="361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8365F6-B9A7-44C6-87F1-811CE78F45BA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855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51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1D56F5-B27D-4927-B5F6-0CA7AB4375C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3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8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8C5E2C-D2BF-4DA6-B0B4-7921087E383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6/02/202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250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1FFD6B9-9184-435E-881A-C8A6A47699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0" progId="TCLayout.ActiveDocument.1">
                  <p:embed/>
                </p:oleObj>
              </mc:Choice>
              <mc:Fallback>
                <p:oleObj name="think-cell Slide" r:id="rId4" imgW="471" imgH="4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1FFD6B9-9184-435E-881A-C8A6A47699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E298B78-3C5B-4EE7-B4EB-491DB0EEB1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600" y="6428317"/>
            <a:ext cx="2844800" cy="36406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6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2E0814C9-8792-4E0D-8284-5D20F039A6E7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  <p:sp>
        <p:nvSpPr>
          <p:cNvPr id="1027" name="Espace réservé du titre 1">
            <a:extLst>
              <a:ext uri="{FF2B5EF4-FFF2-40B4-BE49-F238E27FC236}">
                <a16:creationId xmlns:a16="http://schemas.microsoft.com/office/drawing/2014/main" id="{3A9FC01B-EA27-4F46-BC7E-8B47EF7C447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01600" y="228600"/>
            <a:ext cx="11990917" cy="702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CH" altLang="en-US"/>
              <a:t>Cliquez et modifiez le titre</a:t>
            </a:r>
            <a:endParaRPr lang="fr-FR" altLang="en-US"/>
          </a:p>
        </p:txBody>
      </p:sp>
      <p:sp>
        <p:nvSpPr>
          <p:cNvPr id="1028" name="Espace réservé du texte 2">
            <a:extLst>
              <a:ext uri="{FF2B5EF4-FFF2-40B4-BE49-F238E27FC236}">
                <a16:creationId xmlns:a16="http://schemas.microsoft.com/office/drawing/2014/main" id="{6775E349-F69A-414C-A5DF-A8CAB5D6482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143000"/>
            <a:ext cx="11277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CH" altLang="en-US"/>
              <a:t>Cliquez pour modifier les styles du texte du masque</a:t>
            </a:r>
          </a:p>
          <a:p>
            <a:pPr lvl="1"/>
            <a:r>
              <a:rPr lang="fr-CH" altLang="en-US"/>
              <a:t>Deuxième niveau</a:t>
            </a:r>
          </a:p>
          <a:p>
            <a:pPr lvl="2"/>
            <a:r>
              <a:rPr lang="fr-CH" altLang="en-US"/>
              <a:t>Troisième niveau</a:t>
            </a:r>
          </a:p>
          <a:p>
            <a:pPr lvl="3"/>
            <a:r>
              <a:rPr lang="fr-CH" altLang="en-US"/>
              <a:t>Quatrième niveau</a:t>
            </a:r>
          </a:p>
          <a:p>
            <a:pPr lvl="4"/>
            <a:r>
              <a:rPr lang="fr-CH" altLang="en-US"/>
              <a:t>Cinquième niveau</a:t>
            </a:r>
            <a:endParaRPr lang="fr-FR" altLang="en-US"/>
          </a:p>
          <a:p>
            <a:pPr lvl="3"/>
            <a:endParaRPr lang="fr-CH" altLang="en-US"/>
          </a:p>
        </p:txBody>
      </p:sp>
      <p:pic>
        <p:nvPicPr>
          <p:cNvPr id="1029" name="Image 6">
            <a:extLst>
              <a:ext uri="{FF2B5EF4-FFF2-40B4-BE49-F238E27FC236}">
                <a16:creationId xmlns:a16="http://schemas.microsoft.com/office/drawing/2014/main" id="{DA534D3B-B369-4FEA-95F5-E6436AC92A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4317" y="6096000"/>
            <a:ext cx="2106083" cy="662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4487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</p:sldLayoutIdLst>
  <p:hf hdr="0" ftr="0" dt="0"/>
  <p:txStyles>
    <p:titleStyle>
      <a:lvl1pPr algn="ctr" defTabSz="607469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rgbClr val="8F296B"/>
          </a:solidFill>
          <a:latin typeface="Arial"/>
          <a:ea typeface="MS PGothic" panose="020B0600070205080204" pitchFamily="34" charset="-128"/>
          <a:cs typeface="ＭＳ Ｐゴシック" pitchFamily="-110" charset="-128"/>
        </a:defRPr>
      </a:lvl1pPr>
      <a:lvl2pPr algn="ctr" defTabSz="607469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8F296B"/>
          </a:solidFill>
          <a:latin typeface="Arial" charset="0"/>
          <a:ea typeface="MS PGothic" panose="020B0600070205080204" pitchFamily="34" charset="-128"/>
          <a:cs typeface="ＭＳ Ｐゴシック" pitchFamily="-110" charset="-128"/>
        </a:defRPr>
      </a:lvl2pPr>
      <a:lvl3pPr algn="ctr" defTabSz="607469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8F296B"/>
          </a:solidFill>
          <a:latin typeface="Arial" charset="0"/>
          <a:ea typeface="MS PGothic" panose="020B0600070205080204" pitchFamily="34" charset="-128"/>
          <a:cs typeface="ＭＳ Ｐゴシック" pitchFamily="-110" charset="-128"/>
        </a:defRPr>
      </a:lvl3pPr>
      <a:lvl4pPr algn="ctr" defTabSz="607469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8F296B"/>
          </a:solidFill>
          <a:latin typeface="Arial" charset="0"/>
          <a:ea typeface="MS PGothic" panose="020B0600070205080204" pitchFamily="34" charset="-128"/>
          <a:cs typeface="ＭＳ Ｐゴシック" pitchFamily="-110" charset="-128"/>
        </a:defRPr>
      </a:lvl4pPr>
      <a:lvl5pPr algn="ctr" defTabSz="607469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8F296B"/>
          </a:solidFill>
          <a:latin typeface="Arial" charset="0"/>
          <a:ea typeface="MS PGothic" panose="020B0600070205080204" pitchFamily="34" charset="-128"/>
          <a:cs typeface="ＭＳ Ｐゴシック" pitchFamily="-110" charset="-128"/>
        </a:defRPr>
      </a:lvl5pPr>
      <a:lvl6pPr marL="609570" algn="l" defTabSz="609570" rtl="0" fontAlgn="base">
        <a:spcBef>
          <a:spcPct val="0"/>
        </a:spcBef>
        <a:spcAft>
          <a:spcPct val="0"/>
        </a:spcAft>
        <a:defRPr sz="3733" b="1">
          <a:solidFill>
            <a:srgbClr val="FFFFFF"/>
          </a:solidFill>
          <a:latin typeface="Arial" charset="0"/>
          <a:ea typeface="ＭＳ Ｐゴシック" charset="-128"/>
        </a:defRPr>
      </a:lvl6pPr>
      <a:lvl7pPr marL="1219139" algn="l" defTabSz="609570" rtl="0" fontAlgn="base">
        <a:spcBef>
          <a:spcPct val="0"/>
        </a:spcBef>
        <a:spcAft>
          <a:spcPct val="0"/>
        </a:spcAft>
        <a:defRPr sz="3733" b="1">
          <a:solidFill>
            <a:srgbClr val="FFFFFF"/>
          </a:solidFill>
          <a:latin typeface="Arial" charset="0"/>
          <a:ea typeface="ＭＳ Ｐゴシック" charset="-128"/>
        </a:defRPr>
      </a:lvl7pPr>
      <a:lvl8pPr marL="1828709" algn="l" defTabSz="609570" rtl="0" fontAlgn="base">
        <a:spcBef>
          <a:spcPct val="0"/>
        </a:spcBef>
        <a:spcAft>
          <a:spcPct val="0"/>
        </a:spcAft>
        <a:defRPr sz="3733" b="1">
          <a:solidFill>
            <a:srgbClr val="FFFFFF"/>
          </a:solidFill>
          <a:latin typeface="Arial" charset="0"/>
          <a:ea typeface="ＭＳ Ｐゴシック" charset="-128"/>
        </a:defRPr>
      </a:lvl8pPr>
      <a:lvl9pPr marL="2438278" algn="l" defTabSz="609570" rtl="0" fontAlgn="base">
        <a:spcBef>
          <a:spcPct val="0"/>
        </a:spcBef>
        <a:spcAft>
          <a:spcPct val="0"/>
        </a:spcAft>
        <a:defRPr sz="3733" b="1">
          <a:solidFill>
            <a:srgbClr val="FFFFFF"/>
          </a:solidFill>
          <a:latin typeface="Arial" charset="0"/>
          <a:ea typeface="ＭＳ Ｐゴシック" charset="-128"/>
        </a:defRPr>
      </a:lvl9pPr>
    </p:titleStyle>
    <p:bodyStyle>
      <a:lvl1pPr marL="455073" indent="-455073" algn="l" defTabSz="607469" rtl="0" eaLnBrk="0" fontAlgn="base" hangingPunct="0">
        <a:spcBef>
          <a:spcPct val="20000"/>
        </a:spcBef>
        <a:spcAft>
          <a:spcPct val="0"/>
        </a:spcAft>
        <a:buClr>
          <a:srgbClr val="A7005F"/>
        </a:buClr>
        <a:buSzPct val="120000"/>
        <a:buFont typeface="Arial" panose="020B0604020202020204" pitchFamily="34" charset="0"/>
        <a:buChar char="•"/>
        <a:defRPr sz="3200" b="1" kern="1200">
          <a:solidFill>
            <a:schemeClr val="tx1"/>
          </a:solidFill>
          <a:latin typeface="Arial"/>
          <a:ea typeface="MS PGothic" panose="020B0600070205080204" pitchFamily="34" charset="-128"/>
          <a:cs typeface="MS PGothic" panose="020B0600070205080204" pitchFamily="34" charset="-128"/>
        </a:defRPr>
      </a:lvl1pPr>
      <a:lvl2pPr marL="988459" indent="-378875" algn="l" defTabSz="607469" rtl="0" eaLnBrk="0" fontAlgn="base" hangingPunct="0">
        <a:spcBef>
          <a:spcPct val="20000"/>
        </a:spcBef>
        <a:spcAft>
          <a:spcPct val="0"/>
        </a:spcAft>
        <a:buClr>
          <a:srgbClr val="E91D3E"/>
        </a:buClr>
        <a:buSzPct val="120000"/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Arial"/>
          <a:ea typeface="MS PGothic" panose="020B0600070205080204" pitchFamily="34" charset="-128"/>
          <a:cs typeface="Arial"/>
        </a:defRPr>
      </a:lvl2pPr>
      <a:lvl3pPr marL="1521846" indent="-302676" algn="l" defTabSz="607469" rtl="0" eaLnBrk="0" fontAlgn="base" hangingPunct="0">
        <a:spcBef>
          <a:spcPct val="20000"/>
        </a:spcBef>
        <a:spcAft>
          <a:spcPct val="0"/>
        </a:spcAft>
        <a:buClr>
          <a:srgbClr val="FFB5FE"/>
        </a:buClr>
        <a:buFont typeface="Arial" panose="020B0604020202020204" pitchFamily="34" charset="0"/>
        <a:buChar char="•"/>
        <a:defRPr kern="1200">
          <a:solidFill>
            <a:schemeClr val="tx1"/>
          </a:solidFill>
          <a:latin typeface="Arial"/>
          <a:ea typeface="Arial" charset="0"/>
          <a:cs typeface="Arial"/>
        </a:defRPr>
      </a:lvl3pPr>
      <a:lvl4pPr marL="2131431" indent="-302676" algn="l" defTabSz="607469" rtl="0" eaLnBrk="0" fontAlgn="base" hangingPunct="0">
        <a:spcBef>
          <a:spcPct val="20000"/>
        </a:spcBef>
        <a:spcAft>
          <a:spcPct val="0"/>
        </a:spcAft>
        <a:buSzPct val="70000"/>
        <a:defRPr sz="2133" b="1" kern="1200">
          <a:solidFill>
            <a:schemeClr val="tx1"/>
          </a:solidFill>
          <a:latin typeface="Arial"/>
          <a:ea typeface="Arial" charset="0"/>
          <a:cs typeface="Arial"/>
        </a:defRPr>
      </a:lvl4pPr>
      <a:lvl5pPr marL="2741015" indent="-302676" algn="l" defTabSz="607469" rtl="0" eaLnBrk="0" fontAlgn="base" hangingPunct="0">
        <a:spcBef>
          <a:spcPct val="20000"/>
        </a:spcBef>
        <a:spcAft>
          <a:spcPct val="0"/>
        </a:spcAft>
        <a:defRPr sz="2133" kern="1200">
          <a:solidFill>
            <a:srgbClr val="000000"/>
          </a:solidFill>
          <a:latin typeface="Arial"/>
          <a:ea typeface="Arial" charset="0"/>
          <a:cs typeface="Arial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4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latin typeface="Arial"/>
              <a:ea typeface="ＭＳ Ｐゴシック"/>
              <a:cs typeface="Arial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31" y="6311540"/>
            <a:ext cx="1753772" cy="546465"/>
          </a:xfrm>
          <a:prstGeom prst="rect">
            <a:avLst/>
          </a:prstGeom>
        </p:spPr>
      </p:pic>
      <p:sp>
        <p:nvSpPr>
          <p:cNvPr id="1029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348905" y="215904"/>
            <a:ext cx="11482917" cy="70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30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23333" y="1352550"/>
            <a:ext cx="11277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7A31544F-94DE-44FB-B7D0-E6858DE770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604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</p:sldLayoutIdLst>
  <p:transition spd="slow"/>
  <p:hf sldNum="0"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660066"/>
          </a:solidFill>
          <a:latin typeface="Arial"/>
          <a:ea typeface="ＭＳ Ｐゴシック" charset="-128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80000"/>
        <a:buFont typeface="Arial" panose="020B0604020202020204" pitchFamily="34" charset="0"/>
        <a:buChar char="●"/>
        <a:defRPr sz="2400" kern="1200">
          <a:solidFill>
            <a:schemeClr val="tx1"/>
          </a:solidFill>
          <a:latin typeface="Arial"/>
          <a:ea typeface="ＭＳ Ｐゴシック" charset="-128"/>
          <a:cs typeface="ＭＳ Ｐゴシック" pitchFamily="-11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—"/>
        <a:defRPr sz="2400" kern="1200">
          <a:solidFill>
            <a:schemeClr val="tx1"/>
          </a:solidFill>
          <a:latin typeface="Arial"/>
          <a:ea typeface="ＭＳ Ｐゴシック" pitchFamily="34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Arial"/>
          <a:ea typeface="Arial" charset="0"/>
          <a:cs typeface="Arial"/>
        </a:defRPr>
      </a:lvl3pPr>
      <a:lvl4pPr marL="16573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■"/>
        <a:defRPr sz="2400" b="0" kern="1200">
          <a:solidFill>
            <a:schemeClr val="tx1"/>
          </a:solidFill>
          <a:latin typeface="Arial"/>
          <a:ea typeface="Arial" charset="0"/>
          <a:cs typeface="Arial"/>
        </a:defRPr>
      </a:lvl4pPr>
      <a:lvl5pPr marL="21145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□"/>
        <a:defRPr sz="2400" kern="1200">
          <a:solidFill>
            <a:srgbClr val="000000"/>
          </a:solidFill>
          <a:latin typeface="Arial"/>
          <a:ea typeface="Arial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ZoneTexte 1">
            <a:extLst>
              <a:ext uri="{FF2B5EF4-FFF2-40B4-BE49-F238E27FC236}">
                <a16:creationId xmlns:a16="http://schemas.microsoft.com/office/drawing/2014/main" id="{430D92CA-D486-489C-A22E-AA96F9BADF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50327" y="84386"/>
            <a:ext cx="5378449" cy="1054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6" tIns="34288" rIns="68576" bIns="34288">
            <a:spAutoFit/>
          </a:bodyPr>
          <a:lstStyle>
            <a:lvl1pPr defTabSz="255588">
              <a:spcBef>
                <a:spcPct val="20000"/>
              </a:spcBef>
              <a:buClr>
                <a:srgbClr val="A7005F"/>
              </a:buClr>
              <a:buSzPct val="120000"/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defRPr>
            </a:lvl1pPr>
            <a:lvl2pPr marL="742950" indent="-285750" defTabSz="255588">
              <a:spcBef>
                <a:spcPct val="20000"/>
              </a:spcBef>
              <a:buClr>
                <a:srgbClr val="E91D3E"/>
              </a:buClr>
              <a:buSzPct val="12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255588">
              <a:spcBef>
                <a:spcPct val="20000"/>
              </a:spcBef>
              <a:buClr>
                <a:srgbClr val="FFB5F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255588">
              <a:spcBef>
                <a:spcPct val="20000"/>
              </a:spcBef>
              <a:buSzPct val="70000"/>
              <a:defRPr sz="1600" b="1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255588">
              <a:spcBef>
                <a:spcPct val="20000"/>
              </a:spcBef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255588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255588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255588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255588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340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alt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SMC 2025 </a:t>
            </a:r>
            <a:r>
              <a:rPr kumimoji="0" lang="de-CH" altLang="fr-FR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campaign</a:t>
            </a:r>
            <a:endParaRPr kumimoji="0" lang="de-CH" altLang="fr-FR" sz="3200" b="1" i="0" u="none" strike="noStrike" kern="1200" cap="none" spc="0" normalizeH="0" baseline="0" noProof="0" dirty="0">
              <a:ln>
                <a:noFill/>
              </a:ln>
              <a:solidFill>
                <a:srgbClr val="F2F2F2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340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alt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rends and </a:t>
            </a:r>
            <a:r>
              <a:rPr kumimoji="0" lang="de-CH" altLang="fr-FR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chievements</a:t>
            </a:r>
            <a:endParaRPr kumimoji="0" lang="en-US" altLang="fr-FR" sz="3200" b="1" i="0" u="none" strike="noStrike" kern="1200" cap="none" spc="0" normalizeH="0" baseline="0" noProof="0" dirty="0">
              <a:ln>
                <a:noFill/>
              </a:ln>
              <a:solidFill>
                <a:srgbClr val="F2F2F2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219" name="ZoneTexte 8">
            <a:extLst>
              <a:ext uri="{FF2B5EF4-FFF2-40B4-BE49-F238E27FC236}">
                <a16:creationId xmlns:a16="http://schemas.microsoft.com/office/drawing/2014/main" id="{4110B93F-B0CE-4B2E-B679-6B51154B27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50327" y="1274745"/>
            <a:ext cx="5683170" cy="872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A7005F"/>
              </a:buClr>
              <a:buSzPct val="120000"/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E91D3E"/>
              </a:buClr>
              <a:buSzPct val="12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B5F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defRPr sz="1600" b="1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MC annual meeting</a:t>
            </a:r>
          </a:p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24-27 February 2026</a:t>
            </a:r>
          </a:p>
          <a:p>
            <a:pPr lvl="0" defTabSz="609585" fontAlgn="base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en-US" altLang="en-US" sz="1600" dirty="0" err="1">
                <a:solidFill>
                  <a:srgbClr val="7030A0"/>
                </a:solidFill>
              </a:rPr>
              <a:t>Munyonyo</a:t>
            </a:r>
            <a:r>
              <a:rPr lang="en-US" altLang="en-US" sz="1600" dirty="0">
                <a:solidFill>
                  <a:srgbClr val="7030A0"/>
                </a:solidFill>
              </a:rPr>
              <a:t>, Uganda</a:t>
            </a:r>
            <a:endParaRPr kumimoji="0" lang="en-US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8E8EDF59-B42B-41D8-91A7-D228694E2F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50327" y="2359177"/>
            <a:ext cx="4351867" cy="903817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spcBef>
                <a:spcPct val="20000"/>
              </a:spcBef>
              <a:buClr>
                <a:srgbClr val="A7005F"/>
              </a:buClr>
              <a:buSzPct val="120000"/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E91D3E"/>
              </a:buClr>
              <a:buSzPct val="12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B5F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defRPr sz="1600" b="1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35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30076"/>
              </a:buClr>
              <a:buSzPct val="120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Dr Céline Audibert, MMV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75377A07-D3B0-4C8D-AB46-BAC52B767F9D}"/>
              </a:ext>
            </a:extLst>
          </p:cNvPr>
          <p:cNvCxnSpPr>
            <a:cxnSpLocks/>
          </p:cNvCxnSpPr>
          <p:nvPr/>
        </p:nvCxnSpPr>
        <p:spPr>
          <a:xfrm>
            <a:off x="6250327" y="2220384"/>
            <a:ext cx="5301205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3496329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On average, 55.3 million children were covered by SMC in 2025*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B4F51EA-0581-94B6-14D4-BC3D18AC30CD}"/>
              </a:ext>
            </a:extLst>
          </p:cNvPr>
          <p:cNvSpPr txBox="1"/>
          <p:nvPr/>
        </p:nvSpPr>
        <p:spPr>
          <a:xfrm>
            <a:off x="618309" y="6437376"/>
            <a:ext cx="53199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*: 2025 data are partial and pending confirmation</a:t>
            </a:r>
            <a:endParaRPr lang="fr-CH" sz="1400" i="1" dirty="0"/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E1C2FB3E-AC63-42F1-A106-7DF06F86A6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22660228"/>
              </p:ext>
            </p:extLst>
          </p:nvPr>
        </p:nvGraphicFramePr>
        <p:xfrm>
          <a:off x="630547" y="1014779"/>
          <a:ext cx="10837552" cy="5190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96423954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8987CF-14E6-CF53-04EA-E0CB71DD57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2C195C-3A3B-F4EB-6C20-4ACC838C4C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Changes in average number of children covered in 2025* versus 2024</a:t>
            </a:r>
            <a:br>
              <a:rPr lang="en-US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</a:br>
            <a:endParaRPr lang="en-US" b="0" dirty="0">
              <a:latin typeface="Arial" panose="020B0604020202020204" pitchFamily="34" charset="0"/>
              <a:ea typeface="MS PGothic" panose="020B0600070205080204" pitchFamily="34" charset="-128"/>
              <a:cs typeface="MS PGothic" panose="020B0600070205080204" pitchFamily="34" charset="-128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0AFF1E7-9C33-3ECA-14D9-3FC2FCD7BD65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21F287D-EDAD-75DB-87F6-C543B954289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1212868"/>
              </p:ext>
            </p:extLst>
          </p:nvPr>
        </p:nvGraphicFramePr>
        <p:xfrm>
          <a:off x="231810" y="2036190"/>
          <a:ext cx="11636536" cy="460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Subtitle 7">
            <a:extLst>
              <a:ext uri="{FF2B5EF4-FFF2-40B4-BE49-F238E27FC236}">
                <a16:creationId xmlns:a16="http://schemas.microsoft.com/office/drawing/2014/main" id="{BFAABC90-C1AF-349C-40D0-C95002C952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2250" y="988668"/>
            <a:ext cx="10849791" cy="3401474"/>
          </a:xfrm>
        </p:spPr>
        <p:txBody>
          <a:bodyPr/>
          <a:lstStyle/>
          <a:p>
            <a:r>
              <a:rPr lang="en-US" sz="1800" dirty="0"/>
              <a:t>In 2025*, 225k children less were covered compared with 2024.</a:t>
            </a:r>
          </a:p>
          <a:p>
            <a:r>
              <a:rPr lang="en-US" sz="1800" dirty="0"/>
              <a:t>8 countries covered less children while 10 countries increased the number of children covered.</a:t>
            </a:r>
          </a:p>
          <a:p>
            <a:endParaRPr lang="en-US" sz="18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2039D38-BDAD-CC09-EF3B-F17B1CD6CB10}"/>
              </a:ext>
            </a:extLst>
          </p:cNvPr>
          <p:cNvSpPr txBox="1"/>
          <p:nvPr/>
        </p:nvSpPr>
        <p:spPr>
          <a:xfrm>
            <a:off x="4145280" y="6529020"/>
            <a:ext cx="53199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*: 2025 data are partial and pending confirmation</a:t>
            </a:r>
            <a:endParaRPr lang="fr-CH" sz="1400" i="1" dirty="0"/>
          </a:p>
        </p:txBody>
      </p:sp>
    </p:spTree>
    <p:extLst>
      <p:ext uri="{BB962C8B-B14F-4D97-AF65-F5344CB8AC3E}">
        <p14:creationId xmlns:p14="http://schemas.microsoft.com/office/powerpoint/2010/main" val="1401601479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BC47CD-CBF7-50EE-19B7-2E90430151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0571FB-C183-7648-7847-D9A3845111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Changes in average number of children covered in 2025 versus 2024</a:t>
            </a:r>
            <a:br>
              <a:rPr lang="en-US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</a:br>
            <a:endParaRPr lang="en-US" b="0" dirty="0">
              <a:latin typeface="Arial" panose="020B0604020202020204" pitchFamily="34" charset="0"/>
              <a:ea typeface="MS PGothic" panose="020B0600070205080204" pitchFamily="34" charset="-128"/>
              <a:cs typeface="MS PGothic" panose="020B0600070205080204" pitchFamily="34" charset="-128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7D352EE-9472-0898-1DEE-FCAF70A35F9D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9F7E7653-9B04-3B0D-4020-6DF1DD4C47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09911122"/>
              </p:ext>
            </p:extLst>
          </p:nvPr>
        </p:nvGraphicFramePr>
        <p:xfrm>
          <a:off x="231810" y="2036190"/>
          <a:ext cx="11636536" cy="460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20EB84E5-B839-4197-B8B6-F380538CC4D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80402647"/>
              </p:ext>
            </p:extLst>
          </p:nvPr>
        </p:nvGraphicFramePr>
        <p:xfrm>
          <a:off x="1291472" y="766918"/>
          <a:ext cx="10668718" cy="4200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C7E544AB-D3BA-45F5-DD03-874E40B10451}"/>
              </a:ext>
            </a:extLst>
          </p:cNvPr>
          <p:cNvSpPr txBox="1"/>
          <p:nvPr/>
        </p:nvSpPr>
        <p:spPr>
          <a:xfrm>
            <a:off x="4145280" y="6529020"/>
            <a:ext cx="53199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*: 2025 data are partial and pending confirmation</a:t>
            </a:r>
            <a:endParaRPr lang="fr-CH" sz="1400" i="1" dirty="0"/>
          </a:p>
        </p:txBody>
      </p:sp>
    </p:spTree>
    <p:extLst>
      <p:ext uri="{BB962C8B-B14F-4D97-AF65-F5344CB8AC3E}">
        <p14:creationId xmlns:p14="http://schemas.microsoft.com/office/powerpoint/2010/main" val="2127050789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Cumulatively, 1.518 billion treatments were delivered since 2012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16508A09-A5C7-9543-3B63-34E3618F3AB6}"/>
              </a:ext>
            </a:extLst>
          </p:cNvPr>
          <p:cNvSpPr txBox="1"/>
          <p:nvPr/>
        </p:nvSpPr>
        <p:spPr>
          <a:xfrm>
            <a:off x="4145280" y="6529020"/>
            <a:ext cx="53199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*: 2025 data are partial and pending confirmation</a:t>
            </a:r>
            <a:endParaRPr lang="fr-CH" sz="1400" i="1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CA99FCE-AA5B-5E27-3308-AEC0BA91111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9658"/>
              </p:ext>
            </p:extLst>
          </p:nvPr>
        </p:nvGraphicFramePr>
        <p:xfrm>
          <a:off x="630547" y="1151164"/>
          <a:ext cx="10837553" cy="4963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70884594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70CD0-81F4-4A8D-ADC4-170D2859B6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Decline in number of treatments delivered to 5-10yo in 2025</a:t>
            </a:r>
            <a:b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</a:br>
            <a:endParaRPr lang="en-US" sz="2800" b="0" dirty="0">
              <a:latin typeface="Arial" panose="020B0604020202020204" pitchFamily="34" charset="0"/>
              <a:ea typeface="MS PGothic" panose="020B0600070205080204" pitchFamily="34" charset="-128"/>
              <a:cs typeface="MS PGothic" panose="020B0600070205080204" pitchFamily="34" charset="-128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DF633F-7E21-4120-B9A9-EACB98BC2C5C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7">
            <a:extLst>
              <a:ext uri="{FF2B5EF4-FFF2-40B4-BE49-F238E27FC236}">
                <a16:creationId xmlns:a16="http://schemas.microsoft.com/office/drawing/2014/main" id="{F1147286-4B97-4CDC-B06F-33BD603992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8309" y="1081744"/>
            <a:ext cx="10837553" cy="3362627"/>
          </a:xfrm>
        </p:spPr>
        <p:txBody>
          <a:bodyPr/>
          <a:lstStyle/>
          <a:p>
            <a:r>
              <a:rPr lang="en-US" sz="1800" dirty="0"/>
              <a:t>Shares of 5 to 10 years old receiving SMC decreased to 0.7% of all treatments delivered in 2025, versus 1.5% in 2024</a:t>
            </a:r>
          </a:p>
          <a:p>
            <a:endParaRPr lang="en-US" sz="1800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24EAE33-EFAF-592B-115C-73E9206ADCF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80887207"/>
              </p:ext>
            </p:extLst>
          </p:nvPr>
        </p:nvGraphicFramePr>
        <p:xfrm>
          <a:off x="1091544" y="1916093"/>
          <a:ext cx="9768133" cy="40643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E1BFE319-CDD2-44CD-4849-B201138B7342}"/>
              </a:ext>
            </a:extLst>
          </p:cNvPr>
          <p:cNvSpPr txBox="1"/>
          <p:nvPr/>
        </p:nvSpPr>
        <p:spPr>
          <a:xfrm>
            <a:off x="4145280" y="6529020"/>
            <a:ext cx="53199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*: 2025 data are partial and pending confirmation</a:t>
            </a:r>
            <a:endParaRPr lang="fr-CH" sz="1400" i="1" dirty="0"/>
          </a:p>
        </p:txBody>
      </p:sp>
    </p:spTree>
    <p:extLst>
      <p:ext uri="{BB962C8B-B14F-4D97-AF65-F5344CB8AC3E}">
        <p14:creationId xmlns:p14="http://schemas.microsoft.com/office/powerpoint/2010/main" val="1880766328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327729-7B48-458B-08FD-99CAEC5F96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AB6BFF-E9CB-C39E-702A-F7B532BADA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Number of children covered by a 5</a:t>
            </a:r>
            <a:r>
              <a:rPr lang="en-US" sz="2800" b="0" baseline="3000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th</a:t>
            </a: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 cycle slightly decreased</a:t>
            </a:r>
            <a:b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</a:br>
            <a:endParaRPr lang="en-US" sz="2800" b="0" dirty="0">
              <a:latin typeface="Arial" panose="020B0604020202020204" pitchFamily="34" charset="0"/>
              <a:ea typeface="MS PGothic" panose="020B0600070205080204" pitchFamily="34" charset="-128"/>
              <a:cs typeface="MS PGothic" panose="020B0600070205080204" pitchFamily="34" charset="-128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E48B037-7C7D-F330-4210-399C1FD417EA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7">
            <a:extLst>
              <a:ext uri="{FF2B5EF4-FFF2-40B4-BE49-F238E27FC236}">
                <a16:creationId xmlns:a16="http://schemas.microsoft.com/office/drawing/2014/main" id="{B88A8EED-60DD-8C23-CF67-A21A7428C0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2250" y="988668"/>
            <a:ext cx="10849791" cy="3401474"/>
          </a:xfrm>
        </p:spPr>
        <p:txBody>
          <a:bodyPr/>
          <a:lstStyle/>
          <a:p>
            <a:r>
              <a:rPr lang="en-US" sz="1800" dirty="0"/>
              <a:t>The number of children covered by a 5</a:t>
            </a:r>
            <a:r>
              <a:rPr lang="en-US" sz="1800" baseline="30000" dirty="0"/>
              <a:t>th</a:t>
            </a:r>
            <a:r>
              <a:rPr lang="en-US" sz="1800" dirty="0"/>
              <a:t> cycle slightly lower in 2025 compared with 2024 at 6.7% of treatments delivered</a:t>
            </a:r>
          </a:p>
          <a:p>
            <a:endParaRPr lang="en-US" sz="1800" dirty="0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D601F3A-B5EF-3186-2047-52006C79A5F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223624"/>
              </p:ext>
            </p:extLst>
          </p:nvPr>
        </p:nvGraphicFramePr>
        <p:xfrm>
          <a:off x="671104" y="1753386"/>
          <a:ext cx="10796996" cy="45467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1D5CFED0-4492-1979-BD8B-4EBF016F2544}"/>
              </a:ext>
            </a:extLst>
          </p:cNvPr>
          <p:cNvSpPr txBox="1"/>
          <p:nvPr/>
        </p:nvSpPr>
        <p:spPr>
          <a:xfrm>
            <a:off x="4145280" y="6529020"/>
            <a:ext cx="53199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*: 2025 data are partial and pending confirmation</a:t>
            </a:r>
            <a:endParaRPr lang="fr-CH" sz="1400" i="1" dirty="0"/>
          </a:p>
        </p:txBody>
      </p:sp>
    </p:spTree>
    <p:extLst>
      <p:ext uri="{BB962C8B-B14F-4D97-AF65-F5344CB8AC3E}">
        <p14:creationId xmlns:p14="http://schemas.microsoft.com/office/powerpoint/2010/main" val="3277909485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70CD0-81F4-4A8D-ADC4-170D2859B6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Thank you for providing the data</a:t>
            </a:r>
            <a:b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</a:br>
            <a:endParaRPr lang="en-US" sz="2800" b="0" dirty="0">
              <a:latin typeface="Arial" panose="020B0604020202020204" pitchFamily="34" charset="0"/>
              <a:ea typeface="MS PGothic" panose="020B0600070205080204" pitchFamily="34" charset="-128"/>
              <a:cs typeface="MS PGothic" panose="020B0600070205080204" pitchFamily="34" charset="-128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DF633F-7E21-4120-B9A9-EACB98BC2C5C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Subtitle 7">
            <a:extLst>
              <a:ext uri="{FF2B5EF4-FFF2-40B4-BE49-F238E27FC236}">
                <a16:creationId xmlns:a16="http://schemas.microsoft.com/office/drawing/2014/main" id="{F60DC0CB-C257-30C8-3071-EFD03BA03A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0546" y="990512"/>
            <a:ext cx="10837554" cy="4762577"/>
          </a:xfrm>
        </p:spPr>
        <p:txBody>
          <a:bodyPr/>
          <a:lstStyle/>
          <a:p>
            <a:r>
              <a:rPr lang="en-US" sz="2000" dirty="0"/>
              <a:t>NMCP coordinators, SMC focal point, M&amp;E specialists, partners from: 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Benin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Burkina Faso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Cameroon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Chad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Côte d’Ivoire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Ghana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Guinea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Guinea Bissau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Kenya</a:t>
            </a:r>
          </a:p>
          <a:p>
            <a:pPr marL="660400" lvl="1" indent="-342900" algn="l">
              <a:lnSpc>
                <a:spcPct val="120000"/>
              </a:lnSpc>
              <a:buFont typeface="Courier New" panose="02070309020205020404" pitchFamily="49" charset="0"/>
              <a:buChar char="o"/>
            </a:pPr>
            <a:endParaRPr lang="en-US" sz="1800" dirty="0">
              <a:solidFill>
                <a:schemeClr val="tx1"/>
              </a:solidFill>
            </a:endParaRPr>
          </a:p>
          <a:p>
            <a:endParaRPr lang="en-US" sz="2000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42D5F113-8CB7-5162-10A7-82EE127AF031}"/>
              </a:ext>
            </a:extLst>
          </p:cNvPr>
          <p:cNvSpPr txBox="1">
            <a:spLocks/>
          </p:cNvSpPr>
          <p:nvPr/>
        </p:nvSpPr>
        <p:spPr bwMode="auto">
          <a:xfrm>
            <a:off x="3842276" y="1009366"/>
            <a:ext cx="6630903" cy="4762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SzPct val="65000"/>
              <a:buFont typeface="Wingdings" panose="05000000000000000000" pitchFamily="2" charset="2"/>
              <a:buChar char="l"/>
              <a:defRPr sz="2400" b="0" i="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1pPr>
            <a:lvl2pPr marL="4572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SzPct val="65000"/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/>
                <a:ea typeface="ＭＳ Ｐゴシック" pitchFamily="34" charset="-128"/>
                <a:cs typeface="Arial"/>
              </a:defRPr>
            </a:lvl2pPr>
            <a:lvl3pPr marL="9144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SzPct val="65000"/>
              <a:buFont typeface="Courier New" panose="02070309020205020404" pitchFamily="49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/>
                <a:ea typeface="Arial" charset="0"/>
                <a:cs typeface="Arial"/>
              </a:defRPr>
            </a:lvl3pPr>
            <a:lvl4pPr marL="13716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SzPct val="65000"/>
              <a:buFont typeface="Arial" panose="020B0604020202020204" pitchFamily="34" charset="0"/>
              <a:buNone/>
              <a:defRPr sz="2400" b="0" kern="1200">
                <a:solidFill>
                  <a:schemeClr val="tx1">
                    <a:tint val="75000"/>
                  </a:schemeClr>
                </a:solidFill>
                <a:latin typeface="Arial"/>
                <a:ea typeface="Arial" charset="0"/>
                <a:cs typeface="Arial"/>
              </a:defRPr>
            </a:lvl4pPr>
            <a:lvl5pPr marL="18288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SzPct val="65000"/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/>
                <a:ea typeface="Arial" charset="0"/>
                <a:cs typeface="Arial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00" lvl="1" algn="l"/>
            <a:endParaRPr lang="en-US" sz="1800" dirty="0">
              <a:solidFill>
                <a:schemeClr val="tx1"/>
              </a:solidFill>
            </a:endParaRP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Mali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Mauritania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Mozambique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Niger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Nigeria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Senegal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South Sudan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The Gambia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Togo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Uganda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endParaRPr lang="en-US" sz="1800" dirty="0">
              <a:solidFill>
                <a:schemeClr val="tx1"/>
              </a:solidFill>
            </a:endParaRP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17165631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4HAspxT.esW8qA7w1I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IprO6zS2O7t1XkSwIL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4HAspxT.esW8qA7w1I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IprO6zS2O7t1XkSwIL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MMV">
      <a:dk1>
        <a:srgbClr val="000000"/>
      </a:dk1>
      <a:lt1>
        <a:srgbClr val="FFFFFF"/>
      </a:lt1>
      <a:dk2>
        <a:srgbClr val="7F7F7F"/>
      </a:dk2>
      <a:lt2>
        <a:srgbClr val="957C57"/>
      </a:lt2>
      <a:accent1>
        <a:srgbClr val="A7005F"/>
      </a:accent1>
      <a:accent2>
        <a:srgbClr val="EA5100"/>
      </a:accent2>
      <a:accent3>
        <a:srgbClr val="E4B0BB"/>
      </a:accent3>
      <a:accent4>
        <a:srgbClr val="FFB300"/>
      </a:accent4>
      <a:accent5>
        <a:srgbClr val="C19400"/>
      </a:accent5>
      <a:accent6>
        <a:srgbClr val="7D5E00"/>
      </a:accent6>
      <a:hlink>
        <a:srgbClr val="501830"/>
      </a:hlink>
      <a:folHlink>
        <a:srgbClr val="FEE384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leton DAY2 MMV 46th Board meeting London.potx" id="{6B2140DE-205D-4375-A316-A0FDD0B1FEED}" vid="{F5658C3C-7152-4CDA-BE54-F99FBEC049E9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leton DAY2 MMV 46th Board meeting London.potx" id="{6B2140DE-205D-4375-A316-A0FDD0B1FEED}" vid="{F5658C3C-7152-4CDA-BE54-F99FBEC049E9}"/>
    </a:ext>
  </a:extLst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leton DAY2 MMV 46th Board meeting London.potx" id="{6B2140DE-205D-4375-A316-A0FDD0B1FEED}" vid="{F5658C3C-7152-4CDA-BE54-F99FBEC049E9}"/>
    </a:ext>
  </a:extLst>
</a:theme>
</file>

<file path=ppt/theme/theme5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oard Nov 2018 - Board Membership_SFD" id="{0BAB3EFF-A35A-4969-A8F2-5E44BA012E50}" vid="{CD0EBB2C-D1D5-414B-84B1-504A7A61862E}"/>
    </a:ext>
  </a:extLst>
</a:theme>
</file>

<file path=ppt/theme/theme6.xml><?xml version="1.0" encoding="utf-8"?>
<a:theme xmlns:a="http://schemas.openxmlformats.org/drawingml/2006/main" name="5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Thème Office">
  <a:themeElements>
    <a:clrScheme name="MMV">
      <a:dk1>
        <a:srgbClr val="000000"/>
      </a:dk1>
      <a:lt1>
        <a:srgbClr val="FFFFFF"/>
      </a:lt1>
      <a:dk2>
        <a:srgbClr val="7F7F7F"/>
      </a:dk2>
      <a:lt2>
        <a:srgbClr val="957C57"/>
      </a:lt2>
      <a:accent1>
        <a:srgbClr val="A7005F"/>
      </a:accent1>
      <a:accent2>
        <a:srgbClr val="EA5100"/>
      </a:accent2>
      <a:accent3>
        <a:srgbClr val="E4B0BB"/>
      </a:accent3>
      <a:accent4>
        <a:srgbClr val="FFB300"/>
      </a:accent4>
      <a:accent5>
        <a:srgbClr val="C19400"/>
      </a:accent5>
      <a:accent6>
        <a:srgbClr val="7D5E00"/>
      </a:accent6>
      <a:hlink>
        <a:srgbClr val="501830"/>
      </a:hlink>
      <a:folHlink>
        <a:srgbClr val="FEE384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9</Words>
  <Application>Microsoft Office PowerPoint</Application>
  <PresentationFormat>Widescreen</PresentationFormat>
  <Paragraphs>53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3" baseType="lpstr">
      <vt:lpstr>ＭＳ Ｐゴシック</vt:lpstr>
      <vt:lpstr>Arial</vt:lpstr>
      <vt:lpstr>Calibri</vt:lpstr>
      <vt:lpstr>Courier New</vt:lpstr>
      <vt:lpstr>System Font Regular</vt:lpstr>
      <vt:lpstr>Verdana</vt:lpstr>
      <vt:lpstr>Wingdings</vt:lpstr>
      <vt:lpstr>Thème Office</vt:lpstr>
      <vt:lpstr>Custom Design</vt:lpstr>
      <vt:lpstr>1_Custom Design</vt:lpstr>
      <vt:lpstr>2_Custom Design</vt:lpstr>
      <vt:lpstr>3_Custom Design</vt:lpstr>
      <vt:lpstr>5_Thème Office</vt:lpstr>
      <vt:lpstr>Thème Office</vt:lpstr>
      <vt:lpstr>think-cell Slide</vt:lpstr>
      <vt:lpstr>PowerPoint Presentation</vt:lpstr>
      <vt:lpstr>PowerPoint Presentation</vt:lpstr>
      <vt:lpstr>Changes in average number of children covered in 2025* versus 2024 </vt:lpstr>
      <vt:lpstr>Changes in average number of children covered in 2025 versus 2024 </vt:lpstr>
      <vt:lpstr>PowerPoint Presentation</vt:lpstr>
      <vt:lpstr>Decline in number of treatments delivered to 5-10yo in 2025 </vt:lpstr>
      <vt:lpstr>Number of children covered by a 5th cycle slightly decreased </vt:lpstr>
      <vt:lpstr>Thank you for providing the data 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MV-supported projects</dc:title>
  <dc:creator>Jaya Banerji</dc:creator>
  <cp:lastModifiedBy>Celine Audibert</cp:lastModifiedBy>
  <cp:revision>1080</cp:revision>
  <cp:lastPrinted>2020-01-14T13:32:23Z</cp:lastPrinted>
  <dcterms:created xsi:type="dcterms:W3CDTF">2018-10-16T01:49:16Z</dcterms:created>
  <dcterms:modified xsi:type="dcterms:W3CDTF">2026-02-16T12:39:49Z</dcterms:modified>
</cp:coreProperties>
</file>